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1.xml" ContentType="application/vnd.openxmlformats-officedocument.presentationml.notesSl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2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3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13"/>
  </p:notesMasterIdLst>
  <p:handoutMasterIdLst>
    <p:handoutMasterId r:id="rId14"/>
  </p:handoutMasterIdLst>
  <p:sldIdLst>
    <p:sldId id="728" r:id="rId5"/>
    <p:sldId id="717" r:id="rId6"/>
    <p:sldId id="310" r:id="rId7"/>
    <p:sldId id="384" r:id="rId8"/>
    <p:sldId id="292" r:id="rId9"/>
    <p:sldId id="2119" r:id="rId10"/>
    <p:sldId id="2120" r:id="rId11"/>
    <p:sldId id="2121" r:id="rId12"/>
  </p:sldIdLst>
  <p:sldSz cx="11950700" cy="6729413"/>
  <p:notesSz cx="6742113" cy="9872663"/>
  <p:custDataLst>
    <p:tags r:id="rId15"/>
  </p:custDataLst>
  <p:defaultTextStyle>
    <a:defPPr>
      <a:defRPr lang="de-DE"/>
    </a:defPPr>
    <a:lvl1pPr marL="0" algn="l" defTabSz="1195487" rtl="0" eaLnBrk="1" latinLnBrk="0" hangingPunct="1">
      <a:defRPr sz="2353" kern="1200">
        <a:solidFill>
          <a:schemeClr val="tx1"/>
        </a:solidFill>
        <a:latin typeface="+mn-lt"/>
        <a:ea typeface="+mn-ea"/>
        <a:cs typeface="+mn-cs"/>
      </a:defRPr>
    </a:lvl1pPr>
    <a:lvl2pPr marL="597743" algn="l" defTabSz="1195487" rtl="0" eaLnBrk="1" latinLnBrk="0" hangingPunct="1">
      <a:defRPr sz="2353" kern="1200">
        <a:solidFill>
          <a:schemeClr val="tx1"/>
        </a:solidFill>
        <a:latin typeface="+mn-lt"/>
        <a:ea typeface="+mn-ea"/>
        <a:cs typeface="+mn-cs"/>
      </a:defRPr>
    </a:lvl2pPr>
    <a:lvl3pPr marL="1195487" algn="l" defTabSz="1195487" rtl="0" eaLnBrk="1" latinLnBrk="0" hangingPunct="1">
      <a:defRPr sz="2353" kern="1200">
        <a:solidFill>
          <a:schemeClr val="tx1"/>
        </a:solidFill>
        <a:latin typeface="+mn-lt"/>
        <a:ea typeface="+mn-ea"/>
        <a:cs typeface="+mn-cs"/>
      </a:defRPr>
    </a:lvl3pPr>
    <a:lvl4pPr marL="1793230" algn="l" defTabSz="1195487" rtl="0" eaLnBrk="1" latinLnBrk="0" hangingPunct="1">
      <a:defRPr sz="2353" kern="1200">
        <a:solidFill>
          <a:schemeClr val="tx1"/>
        </a:solidFill>
        <a:latin typeface="+mn-lt"/>
        <a:ea typeface="+mn-ea"/>
        <a:cs typeface="+mn-cs"/>
      </a:defRPr>
    </a:lvl4pPr>
    <a:lvl5pPr marL="2390973" algn="l" defTabSz="1195487" rtl="0" eaLnBrk="1" latinLnBrk="0" hangingPunct="1">
      <a:defRPr sz="2353" kern="1200">
        <a:solidFill>
          <a:schemeClr val="tx1"/>
        </a:solidFill>
        <a:latin typeface="+mn-lt"/>
        <a:ea typeface="+mn-ea"/>
        <a:cs typeface="+mn-cs"/>
      </a:defRPr>
    </a:lvl5pPr>
    <a:lvl6pPr marL="2988716" algn="l" defTabSz="1195487" rtl="0" eaLnBrk="1" latinLnBrk="0" hangingPunct="1">
      <a:defRPr sz="2353" kern="1200">
        <a:solidFill>
          <a:schemeClr val="tx1"/>
        </a:solidFill>
        <a:latin typeface="+mn-lt"/>
        <a:ea typeface="+mn-ea"/>
        <a:cs typeface="+mn-cs"/>
      </a:defRPr>
    </a:lvl6pPr>
    <a:lvl7pPr marL="3586460" algn="l" defTabSz="1195487" rtl="0" eaLnBrk="1" latinLnBrk="0" hangingPunct="1">
      <a:defRPr sz="2353" kern="1200">
        <a:solidFill>
          <a:schemeClr val="tx1"/>
        </a:solidFill>
        <a:latin typeface="+mn-lt"/>
        <a:ea typeface="+mn-ea"/>
        <a:cs typeface="+mn-cs"/>
      </a:defRPr>
    </a:lvl7pPr>
    <a:lvl8pPr marL="4184203" algn="l" defTabSz="1195487" rtl="0" eaLnBrk="1" latinLnBrk="0" hangingPunct="1">
      <a:defRPr sz="2353" kern="1200">
        <a:solidFill>
          <a:schemeClr val="tx1"/>
        </a:solidFill>
        <a:latin typeface="+mn-lt"/>
        <a:ea typeface="+mn-ea"/>
        <a:cs typeface="+mn-cs"/>
      </a:defRPr>
    </a:lvl8pPr>
    <a:lvl9pPr marL="4781946" algn="l" defTabSz="1195487" rtl="0" eaLnBrk="1" latinLnBrk="0" hangingPunct="1">
      <a:defRPr sz="235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20" userDrawn="1">
          <p15:clr>
            <a:srgbClr val="A4A3A4"/>
          </p15:clr>
        </p15:guide>
        <p15:guide id="2" pos="376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741" autoAdjust="0"/>
    <p:restoredTop sz="94660"/>
  </p:normalViewPr>
  <p:slideViewPr>
    <p:cSldViewPr>
      <p:cViewPr varScale="1">
        <p:scale>
          <a:sx n="74" d="100"/>
          <a:sy n="74" d="100"/>
        </p:scale>
        <p:origin x="197" y="106"/>
      </p:cViewPr>
      <p:guideLst>
        <p:guide orient="horz" pos="2120"/>
        <p:guide pos="376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erger, Alexander" userId="691cdd00-2209-483f-ac5d-3f485405de1f" providerId="ADAL" clId="{30703504-CABA-4422-AE95-8B1E0419EAB8}"/>
    <pc:docChg chg="undo redo custSel modSld modMainMaster">
      <pc:chgData name="Berger, Alexander" userId="691cdd00-2209-483f-ac5d-3f485405de1f" providerId="ADAL" clId="{30703504-CABA-4422-AE95-8B1E0419EAB8}" dt="2020-10-06T12:50:00.331" v="259" actId="20577"/>
      <pc:docMkLst>
        <pc:docMk/>
      </pc:docMkLst>
      <pc:sldChg chg="modSp">
        <pc:chgData name="Berger, Alexander" userId="691cdd00-2209-483f-ac5d-3f485405de1f" providerId="ADAL" clId="{30703504-CABA-4422-AE95-8B1E0419EAB8}" dt="2020-10-06T12:42:00.263" v="223" actId="790"/>
        <pc:sldMkLst>
          <pc:docMk/>
          <pc:sldMk cId="2918729257" sldId="292"/>
        </pc:sldMkLst>
        <pc:spChg chg="mod">
          <ac:chgData name="Berger, Alexander" userId="691cdd00-2209-483f-ac5d-3f485405de1f" providerId="ADAL" clId="{30703504-CABA-4422-AE95-8B1E0419EAB8}" dt="2020-10-06T12:42:00.219" v="211" actId="790"/>
          <ac:spMkLst>
            <pc:docMk/>
            <pc:sldMk cId="2918729257" sldId="292"/>
            <ac:spMk id="3" creationId="{C94210AD-9260-4206-BD00-5756A3D5091A}"/>
          </ac:spMkLst>
        </pc:spChg>
        <pc:spChg chg="mod">
          <ac:chgData name="Berger, Alexander" userId="691cdd00-2209-483f-ac5d-3f485405de1f" providerId="ADAL" clId="{30703504-CABA-4422-AE95-8B1E0419EAB8}" dt="2020-10-06T12:42:00.249" v="219" actId="790"/>
          <ac:spMkLst>
            <pc:docMk/>
            <pc:sldMk cId="2918729257" sldId="292"/>
            <ac:spMk id="22" creationId="{E48B6A2F-F05C-404D-9A4C-1168ACDAA174}"/>
          </ac:spMkLst>
        </pc:spChg>
        <pc:spChg chg="mod">
          <ac:chgData name="Berger, Alexander" userId="691cdd00-2209-483f-ac5d-3f485405de1f" providerId="ADAL" clId="{30703504-CABA-4422-AE95-8B1E0419EAB8}" dt="2020-10-06T12:42:00.252" v="220" actId="790"/>
          <ac:spMkLst>
            <pc:docMk/>
            <pc:sldMk cId="2918729257" sldId="292"/>
            <ac:spMk id="26" creationId="{1D3F1736-85BF-4069-BCAB-EEF95B86C456}"/>
          </ac:spMkLst>
        </pc:spChg>
        <pc:spChg chg="mod">
          <ac:chgData name="Berger, Alexander" userId="691cdd00-2209-483f-ac5d-3f485405de1f" providerId="ADAL" clId="{30703504-CABA-4422-AE95-8B1E0419EAB8}" dt="2020-10-06T12:42:00.256" v="221" actId="790"/>
          <ac:spMkLst>
            <pc:docMk/>
            <pc:sldMk cId="2918729257" sldId="292"/>
            <ac:spMk id="28" creationId="{3A69A6B1-A374-43D2-BF8F-4D0EA4D2FBBD}"/>
          </ac:spMkLst>
        </pc:spChg>
        <pc:spChg chg="mod">
          <ac:chgData name="Berger, Alexander" userId="691cdd00-2209-483f-ac5d-3f485405de1f" providerId="ADAL" clId="{30703504-CABA-4422-AE95-8B1E0419EAB8}" dt="2020-10-06T12:42:00.260" v="222" actId="790"/>
          <ac:spMkLst>
            <pc:docMk/>
            <pc:sldMk cId="2918729257" sldId="292"/>
            <ac:spMk id="29" creationId="{83969C71-1A5D-47CA-95BE-B7625D0DCACB}"/>
          </ac:spMkLst>
        </pc:spChg>
        <pc:spChg chg="mod">
          <ac:chgData name="Berger, Alexander" userId="691cdd00-2209-483f-ac5d-3f485405de1f" providerId="ADAL" clId="{30703504-CABA-4422-AE95-8B1E0419EAB8}" dt="2020-10-06T12:42:00.263" v="223" actId="790"/>
          <ac:spMkLst>
            <pc:docMk/>
            <pc:sldMk cId="2918729257" sldId="292"/>
            <ac:spMk id="30" creationId="{55B83F61-A5AB-4EA4-8845-4744A36A7225}"/>
          </ac:spMkLst>
        </pc:spChg>
        <pc:spChg chg="mod">
          <ac:chgData name="Berger, Alexander" userId="691cdd00-2209-483f-ac5d-3f485405de1f" providerId="ADAL" clId="{30703504-CABA-4422-AE95-8B1E0419EAB8}" dt="2020-10-06T12:42:00.223" v="212" actId="790"/>
          <ac:spMkLst>
            <pc:docMk/>
            <pc:sldMk cId="2918729257" sldId="292"/>
            <ac:spMk id="74" creationId="{5B747ED2-CCD1-42E2-8FF6-BDDAA4A6DC05}"/>
          </ac:spMkLst>
        </pc:spChg>
        <pc:spChg chg="mod">
          <ac:chgData name="Berger, Alexander" userId="691cdd00-2209-483f-ac5d-3f485405de1f" providerId="ADAL" clId="{30703504-CABA-4422-AE95-8B1E0419EAB8}" dt="2020-10-06T12:42:00.227" v="213" actId="790"/>
          <ac:spMkLst>
            <pc:docMk/>
            <pc:sldMk cId="2918729257" sldId="292"/>
            <ac:spMk id="75" creationId="{1B00613D-CF4A-4C25-947C-C79638832504}"/>
          </ac:spMkLst>
        </pc:spChg>
        <pc:spChg chg="mod">
          <ac:chgData name="Berger, Alexander" userId="691cdd00-2209-483f-ac5d-3f485405de1f" providerId="ADAL" clId="{30703504-CABA-4422-AE95-8B1E0419EAB8}" dt="2020-10-06T12:42:00.238" v="216" actId="790"/>
          <ac:spMkLst>
            <pc:docMk/>
            <pc:sldMk cId="2918729257" sldId="292"/>
            <ac:spMk id="78" creationId="{6C78920F-6DFE-43AF-8655-2E26688D6F72}"/>
          </ac:spMkLst>
        </pc:spChg>
        <pc:spChg chg="mod">
          <ac:chgData name="Berger, Alexander" userId="691cdd00-2209-483f-ac5d-3f485405de1f" providerId="ADAL" clId="{30703504-CABA-4422-AE95-8B1E0419EAB8}" dt="2020-10-06T12:42:00.230" v="214" actId="790"/>
          <ac:spMkLst>
            <pc:docMk/>
            <pc:sldMk cId="2918729257" sldId="292"/>
            <ac:spMk id="87" creationId="{9408FEF3-4B6C-4194-8585-EBE20B16C232}"/>
          </ac:spMkLst>
        </pc:spChg>
        <pc:spChg chg="mod">
          <ac:chgData name="Berger, Alexander" userId="691cdd00-2209-483f-ac5d-3f485405de1f" providerId="ADAL" clId="{30703504-CABA-4422-AE95-8B1E0419EAB8}" dt="2020-10-06T12:42:00.234" v="215" actId="790"/>
          <ac:spMkLst>
            <pc:docMk/>
            <pc:sldMk cId="2918729257" sldId="292"/>
            <ac:spMk id="94" creationId="{C12AB6A3-DD91-42A4-8284-44B57327FCB3}"/>
          </ac:spMkLst>
        </pc:spChg>
        <pc:spChg chg="mod">
          <ac:chgData name="Berger, Alexander" userId="691cdd00-2209-483f-ac5d-3f485405de1f" providerId="ADAL" clId="{30703504-CABA-4422-AE95-8B1E0419EAB8}" dt="2020-10-06T12:42:00.241" v="217" actId="790"/>
          <ac:spMkLst>
            <pc:docMk/>
            <pc:sldMk cId="2918729257" sldId="292"/>
            <ac:spMk id="96" creationId="{4E0D2C9B-2B69-4E9C-8219-72E0411B0355}"/>
          </ac:spMkLst>
        </pc:spChg>
        <pc:spChg chg="mod">
          <ac:chgData name="Berger, Alexander" userId="691cdd00-2209-483f-ac5d-3f485405de1f" providerId="ADAL" clId="{30703504-CABA-4422-AE95-8B1E0419EAB8}" dt="2020-10-06T12:42:00.245" v="218" actId="790"/>
          <ac:spMkLst>
            <pc:docMk/>
            <pc:sldMk cId="2918729257" sldId="292"/>
            <ac:spMk id="97" creationId="{9EACFCDF-0AEE-4C2B-AC4E-673D108142CB}"/>
          </ac:spMkLst>
        </pc:spChg>
      </pc:sldChg>
      <pc:sldChg chg="modSp">
        <pc:chgData name="Berger, Alexander" userId="691cdd00-2209-483f-ac5d-3f485405de1f" providerId="ADAL" clId="{30703504-CABA-4422-AE95-8B1E0419EAB8}" dt="2020-10-06T12:42:00.163" v="200" actId="790"/>
        <pc:sldMkLst>
          <pc:docMk/>
          <pc:sldMk cId="1545215303" sldId="310"/>
        </pc:sldMkLst>
        <pc:spChg chg="mod">
          <ac:chgData name="Berger, Alexander" userId="691cdd00-2209-483f-ac5d-3f485405de1f" providerId="ADAL" clId="{30703504-CABA-4422-AE95-8B1E0419EAB8}" dt="2020-10-06T12:42:00.155" v="198" actId="790"/>
          <ac:spMkLst>
            <pc:docMk/>
            <pc:sldMk cId="1545215303" sldId="310"/>
            <ac:spMk id="3" creationId="{00000000-0000-0000-0000-000000000000}"/>
          </ac:spMkLst>
        </pc:spChg>
        <pc:spChg chg="mod">
          <ac:chgData name="Berger, Alexander" userId="691cdd00-2209-483f-ac5d-3f485405de1f" providerId="ADAL" clId="{30703504-CABA-4422-AE95-8B1E0419EAB8}" dt="2020-10-06T12:42:00.151" v="197" actId="790"/>
          <ac:spMkLst>
            <pc:docMk/>
            <pc:sldMk cId="1545215303" sldId="310"/>
            <ac:spMk id="5" creationId="{4D7E662C-01CF-4BE0-AB06-2A727A81B62E}"/>
          </ac:spMkLst>
        </pc:spChg>
        <pc:spChg chg="mod">
          <ac:chgData name="Berger, Alexander" userId="691cdd00-2209-483f-ac5d-3f485405de1f" providerId="ADAL" clId="{30703504-CABA-4422-AE95-8B1E0419EAB8}" dt="2020-10-06T12:42:00.163" v="200" actId="790"/>
          <ac:spMkLst>
            <pc:docMk/>
            <pc:sldMk cId="1545215303" sldId="310"/>
            <ac:spMk id="16" creationId="{D8FA32DA-69C3-4871-BEB3-612478B75E11}"/>
          </ac:spMkLst>
        </pc:spChg>
        <pc:spChg chg="mod">
          <ac:chgData name="Berger, Alexander" userId="691cdd00-2209-483f-ac5d-3f485405de1f" providerId="ADAL" clId="{30703504-CABA-4422-AE95-8B1E0419EAB8}" dt="2020-10-06T12:42:00.159" v="199" actId="790"/>
          <ac:spMkLst>
            <pc:docMk/>
            <pc:sldMk cId="1545215303" sldId="310"/>
            <ac:spMk id="17" creationId="{A111551F-4157-49C6-BE1D-C2D2ED2463E4}"/>
          </ac:spMkLst>
        </pc:spChg>
      </pc:sldChg>
      <pc:sldChg chg="modSp">
        <pc:chgData name="Berger, Alexander" userId="691cdd00-2209-483f-ac5d-3f485405de1f" providerId="ADAL" clId="{30703504-CABA-4422-AE95-8B1E0419EAB8}" dt="2020-10-06T12:42:00.215" v="210" actId="790"/>
        <pc:sldMkLst>
          <pc:docMk/>
          <pc:sldMk cId="771806895" sldId="384"/>
        </pc:sldMkLst>
        <pc:spChg chg="mod">
          <ac:chgData name="Berger, Alexander" userId="691cdd00-2209-483f-ac5d-3f485405de1f" providerId="ADAL" clId="{30703504-CABA-4422-AE95-8B1E0419EAB8}" dt="2020-10-06T12:42:00.166" v="201" actId="790"/>
          <ac:spMkLst>
            <pc:docMk/>
            <pc:sldMk cId="771806895" sldId="384"/>
            <ac:spMk id="2" creationId="{38E8986A-E3EE-4781-B784-2AEFBF0A5AF4}"/>
          </ac:spMkLst>
        </pc:spChg>
        <pc:spChg chg="mod">
          <ac:chgData name="Berger, Alexander" userId="691cdd00-2209-483f-ac5d-3f485405de1f" providerId="ADAL" clId="{30703504-CABA-4422-AE95-8B1E0419EAB8}" dt="2020-10-06T12:42:00.172" v="202" actId="790"/>
          <ac:spMkLst>
            <pc:docMk/>
            <pc:sldMk cId="771806895" sldId="384"/>
            <ac:spMk id="3" creationId="{00000000-0000-0000-0000-000000000000}"/>
          </ac:spMkLst>
        </pc:spChg>
        <pc:spChg chg="mod">
          <ac:chgData name="Berger, Alexander" userId="691cdd00-2209-483f-ac5d-3f485405de1f" providerId="ADAL" clId="{30703504-CABA-4422-AE95-8B1E0419EAB8}" dt="2020-10-06T12:42:00.177" v="203" actId="790"/>
          <ac:spMkLst>
            <pc:docMk/>
            <pc:sldMk cId="771806895" sldId="384"/>
            <ac:spMk id="5" creationId="{741F4311-C481-4040-A29B-4BBF22CE7B6A}"/>
          </ac:spMkLst>
        </pc:spChg>
        <pc:spChg chg="mod">
          <ac:chgData name="Berger, Alexander" userId="691cdd00-2209-483f-ac5d-3f485405de1f" providerId="ADAL" clId="{30703504-CABA-4422-AE95-8B1E0419EAB8}" dt="2020-10-06T12:42:00.200" v="206" actId="790"/>
          <ac:spMkLst>
            <pc:docMk/>
            <pc:sldMk cId="771806895" sldId="384"/>
            <ac:spMk id="6" creationId="{ABF25025-F19D-458A-9E94-2303F10A352D}"/>
          </ac:spMkLst>
        </pc:spChg>
        <pc:spChg chg="mod">
          <ac:chgData name="Berger, Alexander" userId="691cdd00-2209-483f-ac5d-3f485405de1f" providerId="ADAL" clId="{30703504-CABA-4422-AE95-8B1E0419EAB8}" dt="2020-10-06T12:42:00.205" v="207" actId="790"/>
          <ac:spMkLst>
            <pc:docMk/>
            <pc:sldMk cId="771806895" sldId="384"/>
            <ac:spMk id="8" creationId="{1F88372A-858F-457A-BEBF-F26D3BA2ED12}"/>
          </ac:spMkLst>
        </pc:spChg>
        <pc:spChg chg="mod">
          <ac:chgData name="Berger, Alexander" userId="691cdd00-2209-483f-ac5d-3f485405de1f" providerId="ADAL" clId="{30703504-CABA-4422-AE95-8B1E0419EAB8}" dt="2020-10-06T12:42:00.208" v="208" actId="790"/>
          <ac:spMkLst>
            <pc:docMk/>
            <pc:sldMk cId="771806895" sldId="384"/>
            <ac:spMk id="10" creationId="{06BC0CCF-B1E2-48E3-957D-BF7152C4E351}"/>
          </ac:spMkLst>
        </pc:spChg>
        <pc:spChg chg="mod">
          <ac:chgData name="Berger, Alexander" userId="691cdd00-2209-483f-ac5d-3f485405de1f" providerId="ADAL" clId="{30703504-CABA-4422-AE95-8B1E0419EAB8}" dt="2020-10-06T12:42:00.212" v="209" actId="790"/>
          <ac:spMkLst>
            <pc:docMk/>
            <pc:sldMk cId="771806895" sldId="384"/>
            <ac:spMk id="36" creationId="{D3C1CBC8-6419-47B9-8814-78E631C62551}"/>
          </ac:spMkLst>
        </pc:spChg>
        <pc:spChg chg="mod">
          <ac:chgData name="Berger, Alexander" userId="691cdd00-2209-483f-ac5d-3f485405de1f" providerId="ADAL" clId="{30703504-CABA-4422-AE95-8B1E0419EAB8}" dt="2020-10-06T12:42:00.215" v="210" actId="790"/>
          <ac:spMkLst>
            <pc:docMk/>
            <pc:sldMk cId="771806895" sldId="384"/>
            <ac:spMk id="37" creationId="{3AD9B2E3-7F12-44A1-B04B-3E0A2271422C}"/>
          </ac:spMkLst>
        </pc:spChg>
        <pc:spChg chg="mod">
          <ac:chgData name="Berger, Alexander" userId="691cdd00-2209-483f-ac5d-3f485405de1f" providerId="ADAL" clId="{30703504-CABA-4422-AE95-8B1E0419EAB8}" dt="2020-10-06T12:42:00.181" v="204" actId="790"/>
          <ac:spMkLst>
            <pc:docMk/>
            <pc:sldMk cId="771806895" sldId="384"/>
            <ac:spMk id="58" creationId="{D2184166-B7AC-4572-8419-BA03D8C4D793}"/>
          </ac:spMkLst>
        </pc:spChg>
        <pc:spChg chg="mod">
          <ac:chgData name="Berger, Alexander" userId="691cdd00-2209-483f-ac5d-3f485405de1f" providerId="ADAL" clId="{30703504-CABA-4422-AE95-8B1E0419EAB8}" dt="2020-10-06T12:42:00.185" v="205" actId="790"/>
          <ac:spMkLst>
            <pc:docMk/>
            <pc:sldMk cId="771806895" sldId="384"/>
            <ac:spMk id="60" creationId="{A9CF9F34-710F-4381-AEBF-D08ABC55DD2D}"/>
          </ac:spMkLst>
        </pc:spChg>
      </pc:sldChg>
      <pc:sldChg chg="modSp">
        <pc:chgData name="Berger, Alexander" userId="691cdd00-2209-483f-ac5d-3f485405de1f" providerId="ADAL" clId="{30703504-CABA-4422-AE95-8B1E0419EAB8}" dt="2020-10-06T12:42:00.147" v="196" actId="790"/>
        <pc:sldMkLst>
          <pc:docMk/>
          <pc:sldMk cId="3288624844" sldId="717"/>
        </pc:sldMkLst>
        <pc:spChg chg="mod">
          <ac:chgData name="Berger, Alexander" userId="691cdd00-2209-483f-ac5d-3f485405de1f" providerId="ADAL" clId="{30703504-CABA-4422-AE95-8B1E0419EAB8}" dt="2020-10-06T12:42:00.037" v="179" actId="790"/>
          <ac:spMkLst>
            <pc:docMk/>
            <pc:sldMk cId="3288624844" sldId="717"/>
            <ac:spMk id="4" creationId="{A19905CC-E81E-469F-8D29-A203B2188CCB}"/>
          </ac:spMkLst>
        </pc:spChg>
        <pc:spChg chg="mod">
          <ac:chgData name="Berger, Alexander" userId="691cdd00-2209-483f-ac5d-3f485405de1f" providerId="ADAL" clId="{30703504-CABA-4422-AE95-8B1E0419EAB8}" dt="2020-10-06T12:41:59.944" v="178" actId="790"/>
          <ac:spMkLst>
            <pc:docMk/>
            <pc:sldMk cId="3288624844" sldId="717"/>
            <ac:spMk id="5" creationId="{E782FBA7-74DF-4A8B-823F-B0DD51D91D24}"/>
          </ac:spMkLst>
        </pc:spChg>
        <pc:spChg chg="mod">
          <ac:chgData name="Berger, Alexander" userId="691cdd00-2209-483f-ac5d-3f485405de1f" providerId="ADAL" clId="{30703504-CABA-4422-AE95-8B1E0419EAB8}" dt="2020-10-06T12:41:59.941" v="177" actId="790"/>
          <ac:spMkLst>
            <pc:docMk/>
            <pc:sldMk cId="3288624844" sldId="717"/>
            <ac:spMk id="6" creationId="{1A9CB2E1-D85B-4B50-8623-F8CC3F27ACAE}"/>
          </ac:spMkLst>
        </pc:spChg>
        <pc:spChg chg="mod">
          <ac:chgData name="Berger, Alexander" userId="691cdd00-2209-483f-ac5d-3f485405de1f" providerId="ADAL" clId="{30703504-CABA-4422-AE95-8B1E0419EAB8}" dt="2020-10-06T12:42:00.040" v="180" actId="790"/>
          <ac:spMkLst>
            <pc:docMk/>
            <pc:sldMk cId="3288624844" sldId="717"/>
            <ac:spMk id="8" creationId="{7CC1A311-C7D9-43A0-9F17-70D7F283CD4B}"/>
          </ac:spMkLst>
        </pc:spChg>
        <pc:spChg chg="mod">
          <ac:chgData name="Berger, Alexander" userId="691cdd00-2209-483f-ac5d-3f485405de1f" providerId="ADAL" clId="{30703504-CABA-4422-AE95-8B1E0419EAB8}" dt="2020-10-06T12:42:00.043" v="181" actId="790"/>
          <ac:spMkLst>
            <pc:docMk/>
            <pc:sldMk cId="3288624844" sldId="717"/>
            <ac:spMk id="9" creationId="{E707442A-D115-4A10-85EA-78A8695B1C02}"/>
          </ac:spMkLst>
        </pc:spChg>
        <pc:spChg chg="mod">
          <ac:chgData name="Berger, Alexander" userId="691cdd00-2209-483f-ac5d-3f485405de1f" providerId="ADAL" clId="{30703504-CABA-4422-AE95-8B1E0419EAB8}" dt="2020-10-06T12:42:00.048" v="182" actId="790"/>
          <ac:spMkLst>
            <pc:docMk/>
            <pc:sldMk cId="3288624844" sldId="717"/>
            <ac:spMk id="16" creationId="{F2D82E4A-A28D-4045-9CBB-E659B1F5A68E}"/>
          </ac:spMkLst>
        </pc:spChg>
        <pc:spChg chg="mod">
          <ac:chgData name="Berger, Alexander" userId="691cdd00-2209-483f-ac5d-3f485405de1f" providerId="ADAL" clId="{30703504-CABA-4422-AE95-8B1E0419EAB8}" dt="2020-10-06T12:42:00.072" v="187" actId="790"/>
          <ac:spMkLst>
            <pc:docMk/>
            <pc:sldMk cId="3288624844" sldId="717"/>
            <ac:spMk id="17" creationId="{BB7E19BB-31BA-4CA8-80BF-73BC48A8AE73}"/>
          </ac:spMkLst>
        </pc:spChg>
        <pc:spChg chg="mod">
          <ac:chgData name="Berger, Alexander" userId="691cdd00-2209-483f-ac5d-3f485405de1f" providerId="ADAL" clId="{30703504-CABA-4422-AE95-8B1E0419EAB8}" dt="2020-10-06T12:42:00.051" v="183" actId="790"/>
          <ac:spMkLst>
            <pc:docMk/>
            <pc:sldMk cId="3288624844" sldId="717"/>
            <ac:spMk id="23" creationId="{4622E7DD-83E0-46D8-9E53-BAFBEFA93932}"/>
          </ac:spMkLst>
        </pc:spChg>
        <pc:spChg chg="mod">
          <ac:chgData name="Berger, Alexander" userId="691cdd00-2209-483f-ac5d-3f485405de1f" providerId="ADAL" clId="{30703504-CABA-4422-AE95-8B1E0419EAB8}" dt="2020-10-06T12:42:00.058" v="184" actId="790"/>
          <ac:spMkLst>
            <pc:docMk/>
            <pc:sldMk cId="3288624844" sldId="717"/>
            <ac:spMk id="24" creationId="{40E7E9E9-9637-499D-AF6C-5365CC691FAA}"/>
          </ac:spMkLst>
        </pc:spChg>
        <pc:spChg chg="mod">
          <ac:chgData name="Berger, Alexander" userId="691cdd00-2209-483f-ac5d-3f485405de1f" providerId="ADAL" clId="{30703504-CABA-4422-AE95-8B1E0419EAB8}" dt="2020-10-06T12:42:00.061" v="185" actId="790"/>
          <ac:spMkLst>
            <pc:docMk/>
            <pc:sldMk cId="3288624844" sldId="717"/>
            <ac:spMk id="25" creationId="{2D915F37-82B5-45AD-B535-DCF2446EAADD}"/>
          </ac:spMkLst>
        </pc:spChg>
        <pc:spChg chg="mod">
          <ac:chgData name="Berger, Alexander" userId="691cdd00-2209-483f-ac5d-3f485405de1f" providerId="ADAL" clId="{30703504-CABA-4422-AE95-8B1E0419EAB8}" dt="2020-10-06T12:42:00.065" v="186" actId="790"/>
          <ac:spMkLst>
            <pc:docMk/>
            <pc:sldMk cId="3288624844" sldId="717"/>
            <ac:spMk id="26" creationId="{DE904CA6-C423-4684-BB73-8E6AF82B2EFD}"/>
          </ac:spMkLst>
        </pc:spChg>
        <pc:spChg chg="mod">
          <ac:chgData name="Berger, Alexander" userId="691cdd00-2209-483f-ac5d-3f485405de1f" providerId="ADAL" clId="{30703504-CABA-4422-AE95-8B1E0419EAB8}" dt="2020-10-06T12:42:00.077" v="188" actId="790"/>
          <ac:spMkLst>
            <pc:docMk/>
            <pc:sldMk cId="3288624844" sldId="717"/>
            <ac:spMk id="27" creationId="{744061AF-DE8C-4CF2-A306-8FF96CE79859}"/>
          </ac:spMkLst>
        </pc:spChg>
        <pc:spChg chg="mod">
          <ac:chgData name="Berger, Alexander" userId="691cdd00-2209-483f-ac5d-3f485405de1f" providerId="ADAL" clId="{30703504-CABA-4422-AE95-8B1E0419EAB8}" dt="2020-10-06T12:42:00.086" v="189" actId="790"/>
          <ac:spMkLst>
            <pc:docMk/>
            <pc:sldMk cId="3288624844" sldId="717"/>
            <ac:spMk id="28" creationId="{DE896E90-BD95-403E-AD1F-20EBDE658DBE}"/>
          </ac:spMkLst>
        </pc:spChg>
        <pc:spChg chg="mod">
          <ac:chgData name="Berger, Alexander" userId="691cdd00-2209-483f-ac5d-3f485405de1f" providerId="ADAL" clId="{30703504-CABA-4422-AE95-8B1E0419EAB8}" dt="2020-10-06T12:42:00.090" v="190" actId="790"/>
          <ac:spMkLst>
            <pc:docMk/>
            <pc:sldMk cId="3288624844" sldId="717"/>
            <ac:spMk id="29" creationId="{46448732-BF80-4C19-8211-E4E24C39FA6E}"/>
          </ac:spMkLst>
        </pc:spChg>
        <pc:spChg chg="mod">
          <ac:chgData name="Berger, Alexander" userId="691cdd00-2209-483f-ac5d-3f485405de1f" providerId="ADAL" clId="{30703504-CABA-4422-AE95-8B1E0419EAB8}" dt="2020-10-06T12:42:00.097" v="191" actId="790"/>
          <ac:spMkLst>
            <pc:docMk/>
            <pc:sldMk cId="3288624844" sldId="717"/>
            <ac:spMk id="30" creationId="{0FD2F61B-39C3-49FA-8695-3A8297D0A3AA}"/>
          </ac:spMkLst>
        </pc:spChg>
        <pc:spChg chg="mod">
          <ac:chgData name="Berger, Alexander" userId="691cdd00-2209-483f-ac5d-3f485405de1f" providerId="ADAL" clId="{30703504-CABA-4422-AE95-8B1E0419EAB8}" dt="2020-10-06T12:42:00.134" v="195" actId="790"/>
          <ac:spMkLst>
            <pc:docMk/>
            <pc:sldMk cId="3288624844" sldId="717"/>
            <ac:spMk id="35" creationId="{1CE86DB4-9BDC-4CBD-9674-235472C7F373}"/>
          </ac:spMkLst>
        </pc:spChg>
        <pc:spChg chg="mod">
          <ac:chgData name="Berger, Alexander" userId="691cdd00-2209-483f-ac5d-3f485405de1f" providerId="ADAL" clId="{30703504-CABA-4422-AE95-8B1E0419EAB8}" dt="2020-10-06T12:42:00.147" v="196" actId="790"/>
          <ac:spMkLst>
            <pc:docMk/>
            <pc:sldMk cId="3288624844" sldId="717"/>
            <ac:spMk id="39" creationId="{03EA2D4E-BAEC-4762-997A-2767572E4391}"/>
          </ac:spMkLst>
        </pc:spChg>
        <pc:spChg chg="mod">
          <ac:chgData name="Berger, Alexander" userId="691cdd00-2209-483f-ac5d-3f485405de1f" providerId="ADAL" clId="{30703504-CABA-4422-AE95-8B1E0419EAB8}" dt="2020-10-06T12:42:00.105" v="192" actId="790"/>
          <ac:spMkLst>
            <pc:docMk/>
            <pc:sldMk cId="3288624844" sldId="717"/>
            <ac:spMk id="40" creationId="{B6AC3BFD-CDCD-4538-9942-BA9446E479A8}"/>
          </ac:spMkLst>
        </pc:spChg>
        <pc:spChg chg="mod">
          <ac:chgData name="Berger, Alexander" userId="691cdd00-2209-483f-ac5d-3f485405de1f" providerId="ADAL" clId="{30703504-CABA-4422-AE95-8B1E0419EAB8}" dt="2020-10-06T12:42:00.114" v="193" actId="790"/>
          <ac:spMkLst>
            <pc:docMk/>
            <pc:sldMk cId="3288624844" sldId="717"/>
            <ac:spMk id="41" creationId="{F94A4E97-660E-4355-BF56-8AF7492B7BE4}"/>
          </ac:spMkLst>
        </pc:spChg>
        <pc:spChg chg="mod">
          <ac:chgData name="Berger, Alexander" userId="691cdd00-2209-483f-ac5d-3f485405de1f" providerId="ADAL" clId="{30703504-CABA-4422-AE95-8B1E0419EAB8}" dt="2020-10-06T12:42:00.120" v="194" actId="790"/>
          <ac:spMkLst>
            <pc:docMk/>
            <pc:sldMk cId="3288624844" sldId="717"/>
            <ac:spMk id="42" creationId="{DFF919B8-14B7-4865-83B5-E0C1C437F24B}"/>
          </ac:spMkLst>
        </pc:spChg>
      </pc:sldChg>
      <pc:sldChg chg="delSp modSp">
        <pc:chgData name="Berger, Alexander" userId="691cdd00-2209-483f-ac5d-3f485405de1f" providerId="ADAL" clId="{30703504-CABA-4422-AE95-8B1E0419EAB8}" dt="2020-10-06T12:44:22.919" v="254" actId="478"/>
        <pc:sldMkLst>
          <pc:docMk/>
          <pc:sldMk cId="2572470156" sldId="728"/>
        </pc:sldMkLst>
        <pc:spChg chg="mod">
          <ac:chgData name="Berger, Alexander" userId="691cdd00-2209-483f-ac5d-3f485405de1f" providerId="ADAL" clId="{30703504-CABA-4422-AE95-8B1E0419EAB8}" dt="2020-10-06T12:41:59.921" v="173" actId="790"/>
          <ac:spMkLst>
            <pc:docMk/>
            <pc:sldMk cId="2572470156" sldId="728"/>
            <ac:spMk id="2" creationId="{F0CC647C-FB25-43E7-B7EE-10CD74F84FC0}"/>
          </ac:spMkLst>
        </pc:spChg>
        <pc:spChg chg="mod">
          <ac:chgData name="Berger, Alexander" userId="691cdd00-2209-483f-ac5d-3f485405de1f" providerId="ADAL" clId="{30703504-CABA-4422-AE95-8B1E0419EAB8}" dt="2020-10-06T12:41:59.926" v="174" actId="790"/>
          <ac:spMkLst>
            <pc:docMk/>
            <pc:sldMk cId="2572470156" sldId="728"/>
            <ac:spMk id="3" creationId="{00000000-0000-0000-0000-000000000000}"/>
          </ac:spMkLst>
        </pc:spChg>
        <pc:spChg chg="mod">
          <ac:chgData name="Berger, Alexander" userId="691cdd00-2209-483f-ac5d-3f485405de1f" providerId="ADAL" clId="{30703504-CABA-4422-AE95-8B1E0419EAB8}" dt="2020-10-06T12:41:59.931" v="175" actId="790"/>
          <ac:spMkLst>
            <pc:docMk/>
            <pc:sldMk cId="2572470156" sldId="728"/>
            <ac:spMk id="6" creationId="{B0158781-5249-45CE-87B3-2D3DDD4368DF}"/>
          </ac:spMkLst>
        </pc:spChg>
        <pc:spChg chg="del mod">
          <ac:chgData name="Berger, Alexander" userId="691cdd00-2209-483f-ac5d-3f485405de1f" providerId="ADAL" clId="{30703504-CABA-4422-AE95-8B1E0419EAB8}" dt="2020-10-06T12:44:22.919" v="254" actId="478"/>
          <ac:spMkLst>
            <pc:docMk/>
            <pc:sldMk cId="2572470156" sldId="728"/>
            <ac:spMk id="9" creationId="{E16268D2-0C87-433A-83D3-163480687E20}"/>
          </ac:spMkLst>
        </pc:spChg>
      </pc:sldChg>
      <pc:sldChg chg="modSp">
        <pc:chgData name="Berger, Alexander" userId="691cdd00-2209-483f-ac5d-3f485405de1f" providerId="ADAL" clId="{30703504-CABA-4422-AE95-8B1E0419EAB8}" dt="2020-10-06T12:42:00.290" v="227" actId="790"/>
        <pc:sldMkLst>
          <pc:docMk/>
          <pc:sldMk cId="1366377557" sldId="2119"/>
        </pc:sldMkLst>
        <pc:spChg chg="mod">
          <ac:chgData name="Berger, Alexander" userId="691cdd00-2209-483f-ac5d-3f485405de1f" providerId="ADAL" clId="{30703504-CABA-4422-AE95-8B1E0419EAB8}" dt="2020-10-06T12:42:00.268" v="224" actId="790"/>
          <ac:spMkLst>
            <pc:docMk/>
            <pc:sldMk cId="1366377557" sldId="2119"/>
            <ac:spMk id="2" creationId="{74EF8260-FB57-44B4-B2F1-86E4698CE998}"/>
          </ac:spMkLst>
        </pc:spChg>
        <pc:spChg chg="mod">
          <ac:chgData name="Berger, Alexander" userId="691cdd00-2209-483f-ac5d-3f485405de1f" providerId="ADAL" clId="{30703504-CABA-4422-AE95-8B1E0419EAB8}" dt="2020-10-06T12:42:00.276" v="226" actId="790"/>
          <ac:spMkLst>
            <pc:docMk/>
            <pc:sldMk cId="1366377557" sldId="2119"/>
            <ac:spMk id="5" creationId="{C6C1665F-C34C-4667-8266-3322C001BF9C}"/>
          </ac:spMkLst>
        </pc:spChg>
        <pc:spChg chg="mod">
          <ac:chgData name="Berger, Alexander" userId="691cdd00-2209-483f-ac5d-3f485405de1f" providerId="ADAL" clId="{30703504-CABA-4422-AE95-8B1E0419EAB8}" dt="2020-10-06T12:42:00.273" v="225" actId="790"/>
          <ac:spMkLst>
            <pc:docMk/>
            <pc:sldMk cId="1366377557" sldId="2119"/>
            <ac:spMk id="6" creationId="{E2762DAF-F63A-4277-BD59-3FD433BCB307}"/>
          </ac:spMkLst>
        </pc:spChg>
        <pc:spChg chg="mod">
          <ac:chgData name="Berger, Alexander" userId="691cdd00-2209-483f-ac5d-3f485405de1f" providerId="ADAL" clId="{30703504-CABA-4422-AE95-8B1E0419EAB8}" dt="2020-10-06T12:42:00.290" v="227" actId="790"/>
          <ac:spMkLst>
            <pc:docMk/>
            <pc:sldMk cId="1366377557" sldId="2119"/>
            <ac:spMk id="7" creationId="{E9C3984C-BD69-4799-8F7F-B12F2AC21E17}"/>
          </ac:spMkLst>
        </pc:spChg>
        <pc:picChg chg="mod">
          <ac:chgData name="Berger, Alexander" userId="691cdd00-2209-483f-ac5d-3f485405de1f" providerId="ADAL" clId="{30703504-CABA-4422-AE95-8B1E0419EAB8}" dt="2020-10-06T12:16:30.691" v="97" actId="1076"/>
          <ac:picMkLst>
            <pc:docMk/>
            <pc:sldMk cId="1366377557" sldId="2119"/>
            <ac:picMk id="3" creationId="{C159CCFB-7981-4539-8F1A-69463BEE1228}"/>
          </ac:picMkLst>
        </pc:picChg>
        <pc:picChg chg="mod">
          <ac:chgData name="Berger, Alexander" userId="691cdd00-2209-483f-ac5d-3f485405de1f" providerId="ADAL" clId="{30703504-CABA-4422-AE95-8B1E0419EAB8}" dt="2020-10-06T12:16:30.691" v="97" actId="1076"/>
          <ac:picMkLst>
            <pc:docMk/>
            <pc:sldMk cId="1366377557" sldId="2119"/>
            <ac:picMk id="4" creationId="{223D7A3E-834D-44F0-8F58-528E471A9B7D}"/>
          </ac:picMkLst>
        </pc:picChg>
      </pc:sldChg>
      <pc:sldChg chg="modSp">
        <pc:chgData name="Berger, Alexander" userId="691cdd00-2209-483f-ac5d-3f485405de1f" providerId="ADAL" clId="{30703504-CABA-4422-AE95-8B1E0419EAB8}" dt="2020-10-06T12:42:00.298" v="229" actId="790"/>
        <pc:sldMkLst>
          <pc:docMk/>
          <pc:sldMk cId="3992629731" sldId="2120"/>
        </pc:sldMkLst>
        <pc:spChg chg="mod">
          <ac:chgData name="Berger, Alexander" userId="691cdd00-2209-483f-ac5d-3f485405de1f" providerId="ADAL" clId="{30703504-CABA-4422-AE95-8B1E0419EAB8}" dt="2020-10-06T12:42:00.295" v="228" actId="790"/>
          <ac:spMkLst>
            <pc:docMk/>
            <pc:sldMk cId="3992629731" sldId="2120"/>
            <ac:spMk id="2" creationId="{74EF8260-FB57-44B4-B2F1-86E4698CE998}"/>
          </ac:spMkLst>
        </pc:spChg>
        <pc:spChg chg="mod">
          <ac:chgData name="Berger, Alexander" userId="691cdd00-2209-483f-ac5d-3f485405de1f" providerId="ADAL" clId="{30703504-CABA-4422-AE95-8B1E0419EAB8}" dt="2020-10-06T12:42:00.298" v="229" actId="790"/>
          <ac:spMkLst>
            <pc:docMk/>
            <pc:sldMk cId="3992629731" sldId="2120"/>
            <ac:spMk id="6" creationId="{E2762DAF-F63A-4277-BD59-3FD433BCB307}"/>
          </ac:spMkLst>
        </pc:spChg>
      </pc:sldChg>
      <pc:sldChg chg="modSp">
        <pc:chgData name="Berger, Alexander" userId="691cdd00-2209-483f-ac5d-3f485405de1f" providerId="ADAL" clId="{30703504-CABA-4422-AE95-8B1E0419EAB8}" dt="2020-10-06T12:42:00.326" v="236" actId="790"/>
        <pc:sldMkLst>
          <pc:docMk/>
          <pc:sldMk cId="2665568151" sldId="2121"/>
        </pc:sldMkLst>
        <pc:spChg chg="mod">
          <ac:chgData name="Berger, Alexander" userId="691cdd00-2209-483f-ac5d-3f485405de1f" providerId="ADAL" clId="{30703504-CABA-4422-AE95-8B1E0419EAB8}" dt="2020-10-06T12:42:00.302" v="230" actId="790"/>
          <ac:spMkLst>
            <pc:docMk/>
            <pc:sldMk cId="2665568151" sldId="2121"/>
            <ac:spMk id="2" creationId="{74EF8260-FB57-44B4-B2F1-86E4698CE998}"/>
          </ac:spMkLst>
        </pc:spChg>
        <pc:spChg chg="mod">
          <ac:chgData name="Berger, Alexander" userId="691cdd00-2209-483f-ac5d-3f485405de1f" providerId="ADAL" clId="{30703504-CABA-4422-AE95-8B1E0419EAB8}" dt="2020-10-06T12:42:00.306" v="231" actId="790"/>
          <ac:spMkLst>
            <pc:docMk/>
            <pc:sldMk cId="2665568151" sldId="2121"/>
            <ac:spMk id="6" creationId="{E2762DAF-F63A-4277-BD59-3FD433BCB307}"/>
          </ac:spMkLst>
        </pc:spChg>
        <pc:spChg chg="mod">
          <ac:chgData name="Berger, Alexander" userId="691cdd00-2209-483f-ac5d-3f485405de1f" providerId="ADAL" clId="{30703504-CABA-4422-AE95-8B1E0419EAB8}" dt="2020-10-06T12:42:00.309" v="232" actId="790"/>
          <ac:spMkLst>
            <pc:docMk/>
            <pc:sldMk cId="2665568151" sldId="2121"/>
            <ac:spMk id="34" creationId="{6E9DEA3A-A0C6-4E4E-A9E1-30DC11E3E6EB}"/>
          </ac:spMkLst>
        </pc:spChg>
        <pc:spChg chg="mod">
          <ac:chgData name="Berger, Alexander" userId="691cdd00-2209-483f-ac5d-3f485405de1f" providerId="ADAL" clId="{30703504-CABA-4422-AE95-8B1E0419EAB8}" dt="2020-10-06T12:42:00.312" v="233" actId="790"/>
          <ac:spMkLst>
            <pc:docMk/>
            <pc:sldMk cId="2665568151" sldId="2121"/>
            <ac:spMk id="35" creationId="{F9EB5F53-AAB0-4140-AB5B-AD7FE47B1670}"/>
          </ac:spMkLst>
        </pc:spChg>
        <pc:spChg chg="mod">
          <ac:chgData name="Berger, Alexander" userId="691cdd00-2209-483f-ac5d-3f485405de1f" providerId="ADAL" clId="{30703504-CABA-4422-AE95-8B1E0419EAB8}" dt="2020-10-06T12:42:00.316" v="234" actId="790"/>
          <ac:spMkLst>
            <pc:docMk/>
            <pc:sldMk cId="2665568151" sldId="2121"/>
            <ac:spMk id="36" creationId="{FCB14C21-6817-436F-AC11-48D9B03465DC}"/>
          </ac:spMkLst>
        </pc:spChg>
        <pc:spChg chg="mod">
          <ac:chgData name="Berger, Alexander" userId="691cdd00-2209-483f-ac5d-3f485405de1f" providerId="ADAL" clId="{30703504-CABA-4422-AE95-8B1E0419EAB8}" dt="2020-10-06T12:42:00.319" v="235" actId="790"/>
          <ac:spMkLst>
            <pc:docMk/>
            <pc:sldMk cId="2665568151" sldId="2121"/>
            <ac:spMk id="37" creationId="{B8B677B3-3932-4D83-9275-A449DBC54143}"/>
          </ac:spMkLst>
        </pc:spChg>
        <pc:spChg chg="mod">
          <ac:chgData name="Berger, Alexander" userId="691cdd00-2209-483f-ac5d-3f485405de1f" providerId="ADAL" clId="{30703504-CABA-4422-AE95-8B1E0419EAB8}" dt="2020-10-06T12:42:00.326" v="236" actId="790"/>
          <ac:spMkLst>
            <pc:docMk/>
            <pc:sldMk cId="2665568151" sldId="2121"/>
            <ac:spMk id="38" creationId="{C2FC7949-7420-436E-B762-AB8F3B5F3146}"/>
          </ac:spMkLst>
        </pc:spChg>
      </pc:sldChg>
      <pc:sldMasterChg chg="addSp modSp">
        <pc:chgData name="Berger, Alexander" userId="691cdd00-2209-483f-ac5d-3f485405de1f" providerId="ADAL" clId="{30703504-CABA-4422-AE95-8B1E0419EAB8}" dt="2020-10-06T12:50:00.331" v="259" actId="20577"/>
        <pc:sldMasterMkLst>
          <pc:docMk/>
          <pc:sldMasterMk cId="419609222" sldId="2147483660"/>
        </pc:sldMasterMkLst>
        <pc:spChg chg="add mod">
          <ac:chgData name="Berger, Alexander" userId="691cdd00-2209-483f-ac5d-3f485405de1f" providerId="ADAL" clId="{30703504-CABA-4422-AE95-8B1E0419EAB8}" dt="2020-10-06T12:50:00.326" v="258" actId="20577"/>
          <ac:spMkLst>
            <pc:docMk/>
            <pc:sldMasterMk cId="419609222" sldId="2147483660"/>
            <ac:spMk id="9" creationId="{A055CD3F-EA2A-4B6D-AD73-381434B17155}"/>
          </ac:spMkLst>
        </pc:spChg>
        <pc:spChg chg="add mod">
          <ac:chgData name="Berger, Alexander" userId="691cdd00-2209-483f-ac5d-3f485405de1f" providerId="ADAL" clId="{30703504-CABA-4422-AE95-8B1E0419EAB8}" dt="2020-10-06T12:50:00.331" v="259" actId="20577"/>
          <ac:spMkLst>
            <pc:docMk/>
            <pc:sldMasterMk cId="419609222" sldId="2147483660"/>
            <ac:spMk id="10" creationId="{D024B6FE-8B40-4058-96FE-1C2C9965AC76}"/>
          </ac:spMkLst>
        </pc:spChg>
        <pc:spChg chg="mod">
          <ac:chgData name="Berger, Alexander" userId="691cdd00-2209-483f-ac5d-3f485405de1f" providerId="ADAL" clId="{30703504-CABA-4422-AE95-8B1E0419EAB8}" dt="2020-10-06T12:50:00.316" v="255" actId="20577"/>
          <ac:spMkLst>
            <pc:docMk/>
            <pc:sldMasterMk cId="419609222" sldId="2147483660"/>
            <ac:spMk id="28" creationId="{00000000-0000-0000-0000-000000000000}"/>
          </ac:spMkLst>
        </pc:spChg>
        <pc:spChg chg="mod">
          <ac:chgData name="Berger, Alexander" userId="691cdd00-2209-483f-ac5d-3f485405de1f" providerId="ADAL" clId="{30703504-CABA-4422-AE95-8B1E0419EAB8}" dt="2020-10-06T12:50:00.322" v="257" actId="20577"/>
          <ac:spMkLst>
            <pc:docMk/>
            <pc:sldMasterMk cId="419609222" sldId="2147483660"/>
            <ac:spMk id="30" creationId="{00000000-0000-0000-0000-000000000000}"/>
          </ac:spMkLst>
        </pc:spChg>
      </pc:sldMasterChg>
    </pc:docChg>
  </pc:docChgLst>
  <pc:docChgLst>
    <pc:chgData name="Forneris, Sergio" userId="480ab7a0-1719-497b-a20a-72e30170042c" providerId="ADAL" clId="{62CAFDDE-6EBD-455C-AD42-AE762D57CB6F}"/>
    <pc:docChg chg="delSld modSld delMainMaster">
      <pc:chgData name="Forneris, Sergio" userId="480ab7a0-1719-497b-a20a-72e30170042c" providerId="ADAL" clId="{62CAFDDE-6EBD-455C-AD42-AE762D57CB6F}" dt="2020-08-18T12:55:03.483" v="71" actId="20577"/>
      <pc:docMkLst>
        <pc:docMk/>
      </pc:docMkLst>
      <pc:sldChg chg="del">
        <pc:chgData name="Forneris, Sergio" userId="480ab7a0-1719-497b-a20a-72e30170042c" providerId="ADAL" clId="{62CAFDDE-6EBD-455C-AD42-AE762D57CB6F}" dt="2020-08-18T12:54:27.072" v="17" actId="2696"/>
        <pc:sldMkLst>
          <pc:docMk/>
          <pc:sldMk cId="2918729257" sldId="292"/>
        </pc:sldMkLst>
      </pc:sldChg>
      <pc:sldChg chg="del">
        <pc:chgData name="Forneris, Sergio" userId="480ab7a0-1719-497b-a20a-72e30170042c" providerId="ADAL" clId="{62CAFDDE-6EBD-455C-AD42-AE762D57CB6F}" dt="2020-08-18T12:54:26.956" v="2" actId="2696"/>
        <pc:sldMkLst>
          <pc:docMk/>
          <pc:sldMk cId="437411601" sldId="380"/>
        </pc:sldMkLst>
      </pc:sldChg>
      <pc:sldChg chg="del">
        <pc:chgData name="Forneris, Sergio" userId="480ab7a0-1719-497b-a20a-72e30170042c" providerId="ADAL" clId="{62CAFDDE-6EBD-455C-AD42-AE762D57CB6F}" dt="2020-08-18T12:54:26.919" v="0" actId="2696"/>
        <pc:sldMkLst>
          <pc:docMk/>
          <pc:sldMk cId="709948004" sldId="474"/>
        </pc:sldMkLst>
      </pc:sldChg>
      <pc:sldChg chg="modSp">
        <pc:chgData name="Forneris, Sergio" userId="480ab7a0-1719-497b-a20a-72e30170042c" providerId="ADAL" clId="{62CAFDDE-6EBD-455C-AD42-AE762D57CB6F}" dt="2020-08-18T12:55:03.483" v="71" actId="20577"/>
        <pc:sldMkLst>
          <pc:docMk/>
          <pc:sldMk cId="2254875060" sldId="483"/>
        </pc:sldMkLst>
        <pc:spChg chg="mod">
          <ac:chgData name="Forneris, Sergio" userId="480ab7a0-1719-497b-a20a-72e30170042c" providerId="ADAL" clId="{62CAFDDE-6EBD-455C-AD42-AE762D57CB6F}" dt="2020-08-18T12:55:03.483" v="71" actId="20577"/>
          <ac:spMkLst>
            <pc:docMk/>
            <pc:sldMk cId="2254875060" sldId="483"/>
            <ac:spMk id="13" creationId="{5264A66B-689D-4513-B48E-E3FD9894E6C1}"/>
          </ac:spMkLst>
        </pc:spChg>
      </pc:sldChg>
      <pc:sldChg chg="del">
        <pc:chgData name="Forneris, Sergio" userId="480ab7a0-1719-497b-a20a-72e30170042c" providerId="ADAL" clId="{62CAFDDE-6EBD-455C-AD42-AE762D57CB6F}" dt="2020-08-18T12:54:26.976" v="3" actId="2696"/>
        <pc:sldMkLst>
          <pc:docMk/>
          <pc:sldMk cId="1521452878" sldId="484"/>
        </pc:sldMkLst>
      </pc:sldChg>
      <pc:sldChg chg="del">
        <pc:chgData name="Forneris, Sergio" userId="480ab7a0-1719-497b-a20a-72e30170042c" providerId="ADAL" clId="{62CAFDDE-6EBD-455C-AD42-AE762D57CB6F}" dt="2020-08-18T12:54:27.121" v="18" actId="2696"/>
        <pc:sldMkLst>
          <pc:docMk/>
          <pc:sldMk cId="1161902923" sldId="485"/>
        </pc:sldMkLst>
      </pc:sldChg>
      <pc:sldChg chg="del">
        <pc:chgData name="Forneris, Sergio" userId="480ab7a0-1719-497b-a20a-72e30170042c" providerId="ADAL" clId="{62CAFDDE-6EBD-455C-AD42-AE762D57CB6F}" dt="2020-08-18T12:54:27.170" v="20" actId="2696"/>
        <pc:sldMkLst>
          <pc:docMk/>
          <pc:sldMk cId="3336704098" sldId="489"/>
        </pc:sldMkLst>
      </pc:sldChg>
      <pc:sldChg chg="del">
        <pc:chgData name="Forneris, Sergio" userId="480ab7a0-1719-497b-a20a-72e30170042c" providerId="ADAL" clId="{62CAFDDE-6EBD-455C-AD42-AE762D57CB6F}" dt="2020-08-18T12:54:27.199" v="21" actId="2696"/>
        <pc:sldMkLst>
          <pc:docMk/>
          <pc:sldMk cId="1318592676" sldId="490"/>
        </pc:sldMkLst>
      </pc:sldChg>
      <pc:sldChg chg="del">
        <pc:chgData name="Forneris, Sergio" userId="480ab7a0-1719-497b-a20a-72e30170042c" providerId="ADAL" clId="{62CAFDDE-6EBD-455C-AD42-AE762D57CB6F}" dt="2020-08-18T12:54:27.010" v="16" actId="2696"/>
        <pc:sldMkLst>
          <pc:docMk/>
          <pc:sldMk cId="3381228408" sldId="501"/>
        </pc:sldMkLst>
      </pc:sldChg>
      <pc:sldChg chg="del">
        <pc:chgData name="Forneris, Sergio" userId="480ab7a0-1719-497b-a20a-72e30170042c" providerId="ADAL" clId="{62CAFDDE-6EBD-455C-AD42-AE762D57CB6F}" dt="2020-08-18T12:54:27.145" v="19" actId="2696"/>
        <pc:sldMkLst>
          <pc:docMk/>
          <pc:sldMk cId="1828557373" sldId="527"/>
        </pc:sldMkLst>
      </pc:sldChg>
      <pc:sldChg chg="addSp">
        <pc:chgData name="Forneris, Sergio" userId="480ab7a0-1719-497b-a20a-72e30170042c" providerId="ADAL" clId="{62CAFDDE-6EBD-455C-AD42-AE762D57CB6F}" dt="2020-08-18T12:54:38.125" v="22"/>
        <pc:sldMkLst>
          <pc:docMk/>
          <pc:sldMk cId="2646833957" sldId="2618"/>
        </pc:sldMkLst>
        <pc:spChg chg="add">
          <ac:chgData name="Forneris, Sergio" userId="480ab7a0-1719-497b-a20a-72e30170042c" providerId="ADAL" clId="{62CAFDDE-6EBD-455C-AD42-AE762D57CB6F}" dt="2020-08-18T12:54:38.125" v="22"/>
          <ac:spMkLst>
            <pc:docMk/>
            <pc:sldMk cId="2646833957" sldId="2618"/>
            <ac:spMk id="76" creationId="{225937C8-001A-40D7-8B59-CF74CCF110B0}"/>
          </ac:spMkLst>
        </pc:spChg>
        <pc:picChg chg="add">
          <ac:chgData name="Forneris, Sergio" userId="480ab7a0-1719-497b-a20a-72e30170042c" providerId="ADAL" clId="{62CAFDDE-6EBD-455C-AD42-AE762D57CB6F}" dt="2020-08-18T12:54:38.125" v="22"/>
          <ac:picMkLst>
            <pc:docMk/>
            <pc:sldMk cId="2646833957" sldId="2618"/>
            <ac:picMk id="77" creationId="{CAF1D353-2BBD-4D75-B2A2-142D2C5F3D83}"/>
          </ac:picMkLst>
        </pc:picChg>
      </pc:sldChg>
      <pc:sldMasterChg chg="delSldLayout">
        <pc:chgData name="Forneris, Sergio" userId="480ab7a0-1719-497b-a20a-72e30170042c" providerId="ADAL" clId="{62CAFDDE-6EBD-455C-AD42-AE762D57CB6F}" dt="2020-08-18T12:54:26.920" v="1" actId="2696"/>
        <pc:sldMasterMkLst>
          <pc:docMk/>
          <pc:sldMasterMk cId="419609222" sldId="2147483660"/>
        </pc:sldMasterMkLst>
        <pc:sldLayoutChg chg="del">
          <pc:chgData name="Forneris, Sergio" userId="480ab7a0-1719-497b-a20a-72e30170042c" providerId="ADAL" clId="{62CAFDDE-6EBD-455C-AD42-AE762D57CB6F}" dt="2020-08-18T12:54:26.920" v="1" actId="2696"/>
          <pc:sldLayoutMkLst>
            <pc:docMk/>
            <pc:sldMasterMk cId="419609222" sldId="2147483660"/>
            <pc:sldLayoutMk cId="2381492344" sldId="2147483673"/>
          </pc:sldLayoutMkLst>
        </pc:sldLayoutChg>
      </pc:sldMasterChg>
      <pc:sldMasterChg chg="del delSldLayout">
        <pc:chgData name="Forneris, Sergio" userId="480ab7a0-1719-497b-a20a-72e30170042c" providerId="ADAL" clId="{62CAFDDE-6EBD-455C-AD42-AE762D57CB6F}" dt="2020-08-18T12:54:26.985" v="15" actId="2696"/>
        <pc:sldMasterMkLst>
          <pc:docMk/>
          <pc:sldMasterMk cId="1137112090" sldId="2147483677"/>
        </pc:sldMasterMkLst>
        <pc:sldLayoutChg chg="del">
          <pc:chgData name="Forneris, Sergio" userId="480ab7a0-1719-497b-a20a-72e30170042c" providerId="ADAL" clId="{62CAFDDE-6EBD-455C-AD42-AE762D57CB6F}" dt="2020-08-18T12:54:26.977" v="4" actId="2696"/>
          <pc:sldLayoutMkLst>
            <pc:docMk/>
            <pc:sldMasterMk cId="1137112090" sldId="2147483677"/>
            <pc:sldLayoutMk cId="2360385809" sldId="2147483678"/>
          </pc:sldLayoutMkLst>
        </pc:sldLayoutChg>
        <pc:sldLayoutChg chg="del">
          <pc:chgData name="Forneris, Sergio" userId="480ab7a0-1719-497b-a20a-72e30170042c" providerId="ADAL" clId="{62CAFDDE-6EBD-455C-AD42-AE762D57CB6F}" dt="2020-08-18T12:54:26.977" v="5" actId="2696"/>
          <pc:sldLayoutMkLst>
            <pc:docMk/>
            <pc:sldMasterMk cId="1137112090" sldId="2147483677"/>
            <pc:sldLayoutMk cId="3724658693" sldId="2147483679"/>
          </pc:sldLayoutMkLst>
        </pc:sldLayoutChg>
        <pc:sldLayoutChg chg="del">
          <pc:chgData name="Forneris, Sergio" userId="480ab7a0-1719-497b-a20a-72e30170042c" providerId="ADAL" clId="{62CAFDDE-6EBD-455C-AD42-AE762D57CB6F}" dt="2020-08-18T12:54:26.977" v="6" actId="2696"/>
          <pc:sldLayoutMkLst>
            <pc:docMk/>
            <pc:sldMasterMk cId="1137112090" sldId="2147483677"/>
            <pc:sldLayoutMk cId="1393427593" sldId="2147483680"/>
          </pc:sldLayoutMkLst>
        </pc:sldLayoutChg>
        <pc:sldLayoutChg chg="del">
          <pc:chgData name="Forneris, Sergio" userId="480ab7a0-1719-497b-a20a-72e30170042c" providerId="ADAL" clId="{62CAFDDE-6EBD-455C-AD42-AE762D57CB6F}" dt="2020-08-18T12:54:26.978" v="7" actId="2696"/>
          <pc:sldLayoutMkLst>
            <pc:docMk/>
            <pc:sldMasterMk cId="1137112090" sldId="2147483677"/>
            <pc:sldLayoutMk cId="127688180" sldId="2147483681"/>
          </pc:sldLayoutMkLst>
        </pc:sldLayoutChg>
        <pc:sldLayoutChg chg="del">
          <pc:chgData name="Forneris, Sergio" userId="480ab7a0-1719-497b-a20a-72e30170042c" providerId="ADAL" clId="{62CAFDDE-6EBD-455C-AD42-AE762D57CB6F}" dt="2020-08-18T12:54:26.979" v="8" actId="2696"/>
          <pc:sldLayoutMkLst>
            <pc:docMk/>
            <pc:sldMasterMk cId="1137112090" sldId="2147483677"/>
            <pc:sldLayoutMk cId="21430585" sldId="2147483682"/>
          </pc:sldLayoutMkLst>
        </pc:sldLayoutChg>
        <pc:sldLayoutChg chg="del">
          <pc:chgData name="Forneris, Sergio" userId="480ab7a0-1719-497b-a20a-72e30170042c" providerId="ADAL" clId="{62CAFDDE-6EBD-455C-AD42-AE762D57CB6F}" dt="2020-08-18T12:54:26.979" v="9" actId="2696"/>
          <pc:sldLayoutMkLst>
            <pc:docMk/>
            <pc:sldMasterMk cId="1137112090" sldId="2147483677"/>
            <pc:sldLayoutMk cId="3703349908" sldId="2147483683"/>
          </pc:sldLayoutMkLst>
        </pc:sldLayoutChg>
        <pc:sldLayoutChg chg="del">
          <pc:chgData name="Forneris, Sergio" userId="480ab7a0-1719-497b-a20a-72e30170042c" providerId="ADAL" clId="{62CAFDDE-6EBD-455C-AD42-AE762D57CB6F}" dt="2020-08-18T12:54:26.980" v="10" actId="2696"/>
          <pc:sldLayoutMkLst>
            <pc:docMk/>
            <pc:sldMasterMk cId="1137112090" sldId="2147483677"/>
            <pc:sldLayoutMk cId="1596536306" sldId="2147483684"/>
          </pc:sldLayoutMkLst>
        </pc:sldLayoutChg>
        <pc:sldLayoutChg chg="del">
          <pc:chgData name="Forneris, Sergio" userId="480ab7a0-1719-497b-a20a-72e30170042c" providerId="ADAL" clId="{62CAFDDE-6EBD-455C-AD42-AE762D57CB6F}" dt="2020-08-18T12:54:26.980" v="11" actId="2696"/>
          <pc:sldLayoutMkLst>
            <pc:docMk/>
            <pc:sldMasterMk cId="1137112090" sldId="2147483677"/>
            <pc:sldLayoutMk cId="1057036554" sldId="2147483685"/>
          </pc:sldLayoutMkLst>
        </pc:sldLayoutChg>
        <pc:sldLayoutChg chg="del">
          <pc:chgData name="Forneris, Sergio" userId="480ab7a0-1719-497b-a20a-72e30170042c" providerId="ADAL" clId="{62CAFDDE-6EBD-455C-AD42-AE762D57CB6F}" dt="2020-08-18T12:54:26.980" v="12" actId="2696"/>
          <pc:sldLayoutMkLst>
            <pc:docMk/>
            <pc:sldMasterMk cId="1137112090" sldId="2147483677"/>
            <pc:sldLayoutMk cId="2727025123" sldId="2147483686"/>
          </pc:sldLayoutMkLst>
        </pc:sldLayoutChg>
        <pc:sldLayoutChg chg="del">
          <pc:chgData name="Forneris, Sergio" userId="480ab7a0-1719-497b-a20a-72e30170042c" providerId="ADAL" clId="{62CAFDDE-6EBD-455C-AD42-AE762D57CB6F}" dt="2020-08-18T12:54:26.980" v="13" actId="2696"/>
          <pc:sldLayoutMkLst>
            <pc:docMk/>
            <pc:sldMasterMk cId="1137112090" sldId="2147483677"/>
            <pc:sldLayoutMk cId="2305832135" sldId="2147483687"/>
          </pc:sldLayoutMkLst>
        </pc:sldLayoutChg>
        <pc:sldLayoutChg chg="del">
          <pc:chgData name="Forneris, Sergio" userId="480ab7a0-1719-497b-a20a-72e30170042c" providerId="ADAL" clId="{62CAFDDE-6EBD-455C-AD42-AE762D57CB6F}" dt="2020-08-18T12:54:26.981" v="14" actId="2696"/>
          <pc:sldLayoutMkLst>
            <pc:docMk/>
            <pc:sldMasterMk cId="1137112090" sldId="2147483677"/>
            <pc:sldLayoutMk cId="3275446502" sldId="2147483689"/>
          </pc:sldLayoutMkLst>
        </pc:sldLayoutChg>
      </pc:sldMasterChg>
    </pc:docChg>
  </pc:docChgLst>
  <pc:docChgLst>
    <pc:chgData name="Forneris, Sergio" userId="480ab7a0-1719-497b-a20a-72e30170042c" providerId="ADAL" clId="{98F97042-21DF-4984-8EC9-6BC1F682D63F}"/>
    <pc:docChg chg="undo custSel addSld delSld modSld">
      <pc:chgData name="Forneris, Sergio" userId="480ab7a0-1719-497b-a20a-72e30170042c" providerId="ADAL" clId="{98F97042-21DF-4984-8EC9-6BC1F682D63F}" dt="2020-08-18T13:47:25.820" v="7" actId="2696"/>
      <pc:docMkLst>
        <pc:docMk/>
      </pc:docMkLst>
      <pc:sldChg chg="del">
        <pc:chgData name="Forneris, Sergio" userId="480ab7a0-1719-497b-a20a-72e30170042c" providerId="ADAL" clId="{98F97042-21DF-4984-8EC9-6BC1F682D63F}" dt="2020-08-18T13:40:57.979" v="2" actId="2696"/>
        <pc:sldMkLst>
          <pc:docMk/>
          <pc:sldMk cId="2254875060" sldId="483"/>
        </pc:sldMkLst>
      </pc:sldChg>
      <pc:sldChg chg="modSp">
        <pc:chgData name="Forneris, Sergio" userId="480ab7a0-1719-497b-a20a-72e30170042c" providerId="ADAL" clId="{98F97042-21DF-4984-8EC9-6BC1F682D63F}" dt="2020-08-18T13:41:43.785" v="4" actId="20577"/>
        <pc:sldMkLst>
          <pc:docMk/>
          <pc:sldMk cId="3035098859" sldId="2617"/>
        </pc:sldMkLst>
        <pc:spChg chg="mod">
          <ac:chgData name="Forneris, Sergio" userId="480ab7a0-1719-497b-a20a-72e30170042c" providerId="ADAL" clId="{98F97042-21DF-4984-8EC9-6BC1F682D63F}" dt="2020-08-18T13:41:43.785" v="4" actId="20577"/>
          <ac:spMkLst>
            <pc:docMk/>
            <pc:sldMk cId="3035098859" sldId="2617"/>
            <ac:spMk id="7" creationId="{E9C3984C-BD69-4799-8F7F-B12F2AC21E17}"/>
          </ac:spMkLst>
        </pc:spChg>
      </pc:sldChg>
      <pc:sldChg chg="add del">
        <pc:chgData name="Forneris, Sergio" userId="480ab7a0-1719-497b-a20a-72e30170042c" providerId="ADAL" clId="{98F97042-21DF-4984-8EC9-6BC1F682D63F}" dt="2020-08-18T13:47:25.795" v="6" actId="2696"/>
        <pc:sldMkLst>
          <pc:docMk/>
          <pc:sldMk cId="70301699" sldId="2618"/>
        </pc:sldMkLst>
      </pc:sldChg>
      <pc:sldChg chg="del">
        <pc:chgData name="Forneris, Sergio" userId="480ab7a0-1719-497b-a20a-72e30170042c" providerId="ADAL" clId="{98F97042-21DF-4984-8EC9-6BC1F682D63F}" dt="2020-08-18T13:40:41.947" v="0" actId="2696"/>
        <pc:sldMkLst>
          <pc:docMk/>
          <pc:sldMk cId="2646833957" sldId="2618"/>
        </pc:sldMkLst>
      </pc:sldChg>
      <pc:sldChg chg="del">
        <pc:chgData name="Forneris, Sergio" userId="480ab7a0-1719-497b-a20a-72e30170042c" providerId="ADAL" clId="{98F97042-21DF-4984-8EC9-6BC1F682D63F}" dt="2020-08-18T13:47:25.820" v="7" actId="2696"/>
        <pc:sldMkLst>
          <pc:docMk/>
          <pc:sldMk cId="2248440371" sldId="2619"/>
        </pc:sldMkLst>
      </pc:sldChg>
      <pc:sldChg chg="add">
        <pc:chgData name="Forneris, Sergio" userId="480ab7a0-1719-497b-a20a-72e30170042c" providerId="ADAL" clId="{98F97042-21DF-4984-8EC9-6BC1F682D63F}" dt="2020-08-18T13:47:21.018" v="5"/>
        <pc:sldMkLst>
          <pc:docMk/>
          <pc:sldMk cId="2646833957" sldId="2629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1582" cy="495348"/>
          </a:xfrm>
          <a:prstGeom prst="rect">
            <a:avLst/>
          </a:prstGeom>
        </p:spPr>
        <p:txBody>
          <a:bodyPr vert="horz" lIns="91430" tIns="45715" rIns="91430" bIns="45715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18971" y="0"/>
            <a:ext cx="2921582" cy="495348"/>
          </a:xfrm>
          <a:prstGeom prst="rect">
            <a:avLst/>
          </a:prstGeom>
        </p:spPr>
        <p:txBody>
          <a:bodyPr vert="horz" lIns="91430" tIns="45715" rIns="91430" bIns="45715" rtlCol="0"/>
          <a:lstStyle>
            <a:lvl1pPr algn="r">
              <a:defRPr sz="1200"/>
            </a:lvl1pPr>
          </a:lstStyle>
          <a:p>
            <a:fld id="{D865E9F6-3DCE-458E-88F4-FD64C3EBBC26}" type="datetimeFigureOut">
              <a:rPr lang="en-GB" smtClean="0"/>
              <a:t>06/10/2020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7318"/>
            <a:ext cx="2921582" cy="495347"/>
          </a:xfrm>
          <a:prstGeom prst="rect">
            <a:avLst/>
          </a:prstGeom>
        </p:spPr>
        <p:txBody>
          <a:bodyPr vert="horz" lIns="91430" tIns="45715" rIns="91430" bIns="45715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8971" y="9377318"/>
            <a:ext cx="2921582" cy="495347"/>
          </a:xfrm>
          <a:prstGeom prst="rect">
            <a:avLst/>
          </a:prstGeom>
        </p:spPr>
        <p:txBody>
          <a:bodyPr vert="horz" lIns="91430" tIns="45715" rIns="91430" bIns="45715" rtlCol="0" anchor="b"/>
          <a:lstStyle>
            <a:lvl1pPr algn="r">
              <a:defRPr sz="1200"/>
            </a:lvl1pPr>
          </a:lstStyle>
          <a:p>
            <a:fld id="{012A2B44-81A9-4E30-AA33-AADB2C47BDDB}" type="slidenum">
              <a:rPr lang="en-GB" smtClean="0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07903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1582" cy="495348"/>
          </a:xfrm>
          <a:prstGeom prst="rect">
            <a:avLst/>
          </a:prstGeom>
        </p:spPr>
        <p:txBody>
          <a:bodyPr vert="horz" lIns="91430" tIns="45715" rIns="91430" bIns="45715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8971" y="0"/>
            <a:ext cx="2921582" cy="495348"/>
          </a:xfrm>
          <a:prstGeom prst="rect">
            <a:avLst/>
          </a:prstGeom>
        </p:spPr>
        <p:txBody>
          <a:bodyPr vert="horz" lIns="91430" tIns="45715" rIns="91430" bIns="45715" rtlCol="0"/>
          <a:lstStyle>
            <a:lvl1pPr algn="r">
              <a:defRPr sz="1200"/>
            </a:lvl1pPr>
          </a:lstStyle>
          <a:p>
            <a:fld id="{6AF4AF59-3B09-4652-9A0C-D0E6476654FE}" type="datetimeFigureOut">
              <a:rPr lang="en-GB" smtClean="0"/>
              <a:t>06/10/2020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12750" y="1233488"/>
            <a:ext cx="5916613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0" tIns="45715" rIns="91430" bIns="45715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4212" y="4751221"/>
            <a:ext cx="5393690" cy="3887361"/>
          </a:xfrm>
          <a:prstGeom prst="rect">
            <a:avLst/>
          </a:prstGeom>
        </p:spPr>
        <p:txBody>
          <a:bodyPr vert="horz" lIns="91430" tIns="45715" rIns="91430" bIns="45715" rtlCol="0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8"/>
            <a:ext cx="2921582" cy="495347"/>
          </a:xfrm>
          <a:prstGeom prst="rect">
            <a:avLst/>
          </a:prstGeom>
        </p:spPr>
        <p:txBody>
          <a:bodyPr vert="horz" lIns="91430" tIns="45715" rIns="91430" bIns="45715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8971" y="9377318"/>
            <a:ext cx="2921582" cy="495347"/>
          </a:xfrm>
          <a:prstGeom prst="rect">
            <a:avLst/>
          </a:prstGeom>
        </p:spPr>
        <p:txBody>
          <a:bodyPr vert="horz" lIns="91430" tIns="45715" rIns="91430" bIns="45715" rtlCol="0" anchor="b"/>
          <a:lstStyle>
            <a:lvl1pPr algn="r">
              <a:defRPr sz="1200"/>
            </a:lvl1pPr>
          </a:lstStyle>
          <a:p>
            <a:fld id="{4325CB2C-3E4C-4F9D-B619-B033CE6E0A1E}" type="slidenum">
              <a:rPr lang="en-GB" smtClean="0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75453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1954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0933BC-9045-4710-A835-D1D66E6ECD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1954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51332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A074FD-4C60-40BB-BA5C-3C31D585B034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5811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0BE2E2-B209-49D9-9A83-EAB4E806A3AD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87680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0.xml"/><Relationship Id="rId4" Type="http://schemas.openxmlformats.org/officeDocument/2006/relationships/tags" Target="../tags/tag39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7.xml"/><Relationship Id="rId7" Type="http://schemas.openxmlformats.org/officeDocument/2006/relationships/oleObject" Target="../embeddings/oleObject3.bin"/><Relationship Id="rId2" Type="http://schemas.openxmlformats.org/officeDocument/2006/relationships/tags" Target="../tags/tag46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9.xml"/><Relationship Id="rId4" Type="http://schemas.openxmlformats.org/officeDocument/2006/relationships/tags" Target="../tags/tag48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tags" Target="../tags/tag5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4" Type="http://schemas.openxmlformats.org/officeDocument/2006/relationships/tags" Target="../tags/tag2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9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252002" y="2068514"/>
            <a:ext cx="11447875" cy="431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 u="none"/>
            </a:lvl1pPr>
          </a:lstStyle>
          <a:p>
            <a:pPr lvl="0"/>
            <a:r>
              <a:rPr lang="en-GB" dirty="0" err="1"/>
              <a:t>Untertitel</a:t>
            </a:r>
            <a:endParaRPr lang="en-GB" dirty="0"/>
          </a:p>
        </p:txBody>
      </p:sp>
      <p:sp>
        <p:nvSpPr>
          <p:cNvPr id="4" name="Textfeld 3"/>
          <p:cNvSpPr txBox="1"/>
          <p:nvPr>
            <p:custDataLst>
              <p:tags r:id="rId2"/>
            </p:custDataLst>
          </p:nvPr>
        </p:nvSpPr>
        <p:spPr>
          <a:xfrm>
            <a:off x="11483965" y="6529360"/>
            <a:ext cx="50405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5E8B2E1-21AB-4E55-9905-30660C1783F6}" type="slidenum">
              <a:rPr lang="en-GB" sz="700" smtClean="0">
                <a:latin typeface="+mn-lt"/>
              </a:rPr>
              <a:pPr/>
              <a:t>‹Nr.›</a:t>
            </a:fld>
            <a:endParaRPr lang="en-GB" sz="700" dirty="0">
              <a:latin typeface="+mn-lt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52000" y="1566000"/>
            <a:ext cx="11448000" cy="504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2100"/>
              </a:lnSpc>
              <a:spcBef>
                <a:spcPts val="504"/>
              </a:spcBef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35333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top 2 Columns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50828" y="5272918"/>
            <a:ext cx="11449049" cy="320686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100" b="1"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  <p:custDataLst>
              <p:tags r:id="rId2"/>
            </p:custDataLst>
          </p:nvPr>
        </p:nvSpPr>
        <p:spPr>
          <a:xfrm>
            <a:off x="250825" y="1565277"/>
            <a:ext cx="11449050" cy="3644240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>
            <a:lvl1pPr marL="0" indent="0">
              <a:buNone/>
              <a:defRPr sz="1600"/>
            </a:lvl1pPr>
            <a:lvl2pPr marL="457159" indent="0">
              <a:buNone/>
              <a:defRPr sz="2799"/>
            </a:lvl2pPr>
            <a:lvl3pPr marL="914316" indent="0">
              <a:buNone/>
              <a:defRPr sz="2399"/>
            </a:lvl3pPr>
            <a:lvl4pPr marL="1371475" indent="0">
              <a:buNone/>
              <a:defRPr sz="2000"/>
            </a:lvl4pPr>
            <a:lvl5pPr marL="1828634" indent="0">
              <a:buNone/>
              <a:defRPr sz="2000"/>
            </a:lvl5pPr>
            <a:lvl6pPr marL="2285793" indent="0">
              <a:buNone/>
              <a:defRPr sz="2000"/>
            </a:lvl6pPr>
            <a:lvl7pPr marL="2742950" indent="0">
              <a:buNone/>
              <a:defRPr sz="2000"/>
            </a:lvl7pPr>
            <a:lvl8pPr marL="3200109" indent="0">
              <a:buNone/>
              <a:defRPr sz="2000"/>
            </a:lvl8pPr>
            <a:lvl9pPr marL="3657268" indent="0">
              <a:buNone/>
              <a:defRPr sz="2000"/>
            </a:lvl9pPr>
          </a:lstStyle>
          <a:p>
            <a:pPr lvl="0"/>
            <a:r>
              <a:rPr lang="de-DE" noProof="0"/>
              <a:t>Bild durch Klicken auf Symbol hinzufügen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  <p:custDataLst>
              <p:tags r:id="rId3"/>
            </p:custDataLst>
          </p:nvPr>
        </p:nvSpPr>
        <p:spPr>
          <a:xfrm>
            <a:off x="250825" y="5657007"/>
            <a:ext cx="5616575" cy="8406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900"/>
              </a:lnSpc>
              <a:buNone/>
              <a:defRPr sz="1600"/>
            </a:lvl1pPr>
            <a:lvl2pPr marL="457159" indent="0">
              <a:buNone/>
              <a:defRPr sz="1200"/>
            </a:lvl2pPr>
            <a:lvl3pPr marL="914316" indent="0">
              <a:buNone/>
              <a:defRPr sz="1000"/>
            </a:lvl3pPr>
            <a:lvl4pPr marL="1371475" indent="0">
              <a:buNone/>
              <a:defRPr sz="900"/>
            </a:lvl4pPr>
            <a:lvl5pPr marL="1828634" indent="0">
              <a:buNone/>
              <a:defRPr sz="900"/>
            </a:lvl5pPr>
            <a:lvl6pPr marL="2285793" indent="0">
              <a:buNone/>
              <a:defRPr sz="900"/>
            </a:lvl6pPr>
            <a:lvl7pPr marL="2742950" indent="0">
              <a:buNone/>
              <a:defRPr sz="900"/>
            </a:lvl7pPr>
            <a:lvl8pPr marL="3200109" indent="0">
              <a:buNone/>
              <a:defRPr sz="900"/>
            </a:lvl8pPr>
            <a:lvl9pPr marL="3657268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" name="Textfeld 6"/>
          <p:cNvSpPr txBox="1"/>
          <p:nvPr>
            <p:custDataLst>
              <p:tags r:id="rId4"/>
            </p:custDataLst>
          </p:nvPr>
        </p:nvSpPr>
        <p:spPr>
          <a:xfrm>
            <a:off x="11483965" y="6529360"/>
            <a:ext cx="50405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5E8B2E1-21AB-4E55-9905-30660C1783F6}" type="slidenum">
              <a:rPr lang="en-GB" sz="700" smtClean="0">
                <a:latin typeface="+mn-lt"/>
              </a:rPr>
              <a:pPr/>
              <a:t>‹Nr.›</a:t>
            </a:fld>
            <a:endParaRPr lang="en-GB" sz="700" dirty="0">
              <a:latin typeface="+mn-lt"/>
            </a:endParaRPr>
          </a:p>
        </p:txBody>
      </p:sp>
      <p:sp>
        <p:nvSpPr>
          <p:cNvPr id="8" name="Textplatzhalter 3"/>
          <p:cNvSpPr>
            <a:spLocks noGrp="1"/>
          </p:cNvSpPr>
          <p:nvPr>
            <p:ph type="body" sz="half" idx="10"/>
            <p:custDataLst>
              <p:tags r:id="rId5"/>
            </p:custDataLst>
          </p:nvPr>
        </p:nvSpPr>
        <p:spPr>
          <a:xfrm>
            <a:off x="6078488" y="5657005"/>
            <a:ext cx="5616575" cy="8406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900"/>
              </a:lnSpc>
              <a:buNone/>
              <a:defRPr sz="1600"/>
            </a:lvl1pPr>
            <a:lvl2pPr marL="457159" indent="0">
              <a:buNone/>
              <a:defRPr sz="1200"/>
            </a:lvl2pPr>
            <a:lvl3pPr marL="914316" indent="0">
              <a:buNone/>
              <a:defRPr sz="1000"/>
            </a:lvl3pPr>
            <a:lvl4pPr marL="1371475" indent="0">
              <a:buNone/>
              <a:defRPr sz="900"/>
            </a:lvl4pPr>
            <a:lvl5pPr marL="1828634" indent="0">
              <a:buNone/>
              <a:defRPr sz="900"/>
            </a:lvl5pPr>
            <a:lvl6pPr marL="2285793" indent="0">
              <a:buNone/>
              <a:defRPr sz="900"/>
            </a:lvl6pPr>
            <a:lvl7pPr marL="2742950" indent="0">
              <a:buNone/>
              <a:defRPr sz="900"/>
            </a:lvl7pPr>
            <a:lvl8pPr marL="3200109" indent="0">
              <a:buNone/>
              <a:defRPr sz="900"/>
            </a:lvl8pPr>
            <a:lvl9pPr marL="3657268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733471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ference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>
            <p:custDataLst>
              <p:tags r:id="rId1"/>
            </p:custDataLst>
          </p:nvPr>
        </p:nvSpPr>
        <p:spPr>
          <a:xfrm>
            <a:off x="11483965" y="6529360"/>
            <a:ext cx="50405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5E8B2E1-21AB-4E55-9905-30660C1783F6}" type="slidenum">
              <a:rPr lang="en-GB" sz="700" smtClean="0">
                <a:latin typeface="+mn-lt"/>
              </a:rPr>
              <a:pPr/>
              <a:t>‹Nr.›</a:t>
            </a:fld>
            <a:endParaRPr lang="en-GB" sz="700" dirty="0">
              <a:latin typeface="+mn-lt"/>
            </a:endParaRPr>
          </a:p>
        </p:txBody>
      </p:sp>
      <p:cxnSp>
        <p:nvCxnSpPr>
          <p:cNvPr id="3" name="Gerader Verbinder 2"/>
          <p:cNvCxnSpPr/>
          <p:nvPr/>
        </p:nvCxnSpPr>
        <p:spPr>
          <a:xfrm>
            <a:off x="250825" y="1"/>
            <a:ext cx="0" cy="6729413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3960000" y="1"/>
            <a:ext cx="0" cy="6729413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/>
          <p:cNvCxnSpPr/>
          <p:nvPr/>
        </p:nvCxnSpPr>
        <p:spPr>
          <a:xfrm>
            <a:off x="4175126" y="1"/>
            <a:ext cx="0" cy="6729413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/>
          <p:cNvCxnSpPr/>
          <p:nvPr/>
        </p:nvCxnSpPr>
        <p:spPr>
          <a:xfrm>
            <a:off x="5867400" y="1"/>
            <a:ext cx="0" cy="6729413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6086476" y="1"/>
            <a:ext cx="0" cy="6729413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>
            <a:off x="7775574" y="1"/>
            <a:ext cx="0" cy="6729413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7992000" y="1"/>
            <a:ext cx="0" cy="6729413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 flipH="1">
            <a:off x="2" y="1565276"/>
            <a:ext cx="11950701" cy="0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7"/>
          <p:cNvCxnSpPr/>
          <p:nvPr/>
        </p:nvCxnSpPr>
        <p:spPr>
          <a:xfrm flipH="1">
            <a:off x="2" y="2068513"/>
            <a:ext cx="11950701" cy="0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>
          <a:xfrm flipH="1">
            <a:off x="-1" y="2500313"/>
            <a:ext cx="11950701" cy="0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 flipH="1">
            <a:off x="-1" y="4408488"/>
            <a:ext cx="11950701" cy="0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 flipH="1">
            <a:off x="-1" y="4660900"/>
            <a:ext cx="11950701" cy="0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 flipH="1">
            <a:off x="-1" y="6497638"/>
            <a:ext cx="11950701" cy="0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>
            <a:off x="11699875" y="1"/>
            <a:ext cx="0" cy="6729413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70011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B2CC0B7-0A21-41B1-90F9-392BC00E5A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B2CC0B7-0A21-41B1-90F9-392BC00E5A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30016833-FF7E-4D5C-B40B-DF2C26A0BAF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100" b="1" i="0" baseline="0" dirty="0">
              <a:latin typeface="MetaPlusLF" panose="02000503060000020004" pitchFamily="2" charset="0"/>
              <a:ea typeface="+mj-ea"/>
              <a:cs typeface="+mj-cs"/>
              <a:sym typeface="MetaPlusLF" panose="02000503060000020004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29350" y="1713263"/>
            <a:ext cx="11287295" cy="353250"/>
          </a:xfrm>
          <a:prstGeom prst="rect">
            <a:avLst/>
          </a:prstGeom>
        </p:spPr>
        <p:txBody>
          <a:bodyPr/>
          <a:lstStyle/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29350" y="2204280"/>
            <a:ext cx="11287295" cy="17197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/>
              <a:t>Formatvorlage</a:t>
            </a:r>
            <a:r>
              <a:rPr lang="en-US" dirty="0"/>
              <a:t> des </a:t>
            </a:r>
            <a:r>
              <a:rPr lang="en-US" dirty="0" err="1"/>
              <a:t>Untertitelmasters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0"/>
          </p:nvPr>
        </p:nvSpPr>
        <p:spPr>
          <a:xfrm>
            <a:off x="11546119" y="6601679"/>
            <a:ext cx="163907" cy="8879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7B327F-BCDD-4C99-BAA2-9881A1D7A056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56879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A943AE-7DE8-44C3-9D37-E451DA721B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A943AE-7DE8-44C3-9D37-E451DA721B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06EDC8B-792A-4DC4-A26F-8D2E3D89B88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100" b="1" i="0" baseline="0" dirty="0">
              <a:latin typeface="MetaPlusLF" panose="02000503060000020004" pitchFamily="2" charset="0"/>
              <a:ea typeface="+mj-ea"/>
              <a:cs typeface="+mj-cs"/>
              <a:sym typeface="MetaPlusLF" panose="02000503060000020004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9890" y="1713509"/>
            <a:ext cx="11286772" cy="353606"/>
          </a:xfrm>
          <a:prstGeom prst="rect">
            <a:avLst/>
          </a:prstGeom>
        </p:spPr>
        <p:txBody>
          <a:bodyPr/>
          <a:lstStyle/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9890" y="2204195"/>
            <a:ext cx="11286772" cy="428844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0"/>
          </p:nvPr>
        </p:nvSpPr>
        <p:spPr>
          <a:xfrm>
            <a:off x="11546119" y="6601679"/>
            <a:ext cx="163907" cy="8879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CB252E-17B2-4916-BC68-93A08283CBC6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8900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Presenta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E515153-DB5A-4A65-8215-44969E6E72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0934718"/>
              </p:ext>
            </p:extLst>
          </p:nvPr>
        </p:nvGraphicFramePr>
        <p:xfrm>
          <a:off x="1556" y="1558"/>
          <a:ext cx="1557" cy="15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7" imgW="395" imgH="394" progId="TCLayout.ActiveDocument.1">
                  <p:embed/>
                </p:oleObj>
              </mc:Choice>
              <mc:Fallback>
                <p:oleObj name="think-cell Folie" r:id="rId7" imgW="395" imgH="39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E515153-DB5A-4A65-8215-44969E6E72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6" y="1558"/>
                        <a:ext cx="1557" cy="15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764F3A53-4EB2-42F9-A06C-2A4530582CD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608" cy="1557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98" b="1" i="0" baseline="0" dirty="0">
              <a:latin typeface="MetaPlusLF" panose="02000503060000020004" pitchFamily="2" charset="0"/>
              <a:ea typeface="+mj-ea"/>
              <a:cs typeface="+mj-cs"/>
              <a:sym typeface="MetaPlusLF" panose="02000503060000020004" pitchFamily="2" charset="0"/>
            </a:endParaRPr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2" hasCustomPrompt="1"/>
            <p:custDataLst>
              <p:tags r:id="rId4"/>
            </p:custDataLst>
          </p:nvPr>
        </p:nvSpPr>
        <p:spPr>
          <a:xfrm>
            <a:off x="252003" y="2068515"/>
            <a:ext cx="11447875" cy="431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99" b="1" u="none"/>
            </a:lvl1pPr>
          </a:lstStyle>
          <a:p>
            <a:pPr lvl="0"/>
            <a:r>
              <a:rPr lang="en-US"/>
              <a:t>Untertitel</a:t>
            </a:r>
            <a:endParaRPr lang="en-US" dirty="0"/>
          </a:p>
        </p:txBody>
      </p:sp>
      <p:sp>
        <p:nvSpPr>
          <p:cNvPr id="4" name="Textfeld 3"/>
          <p:cNvSpPr txBox="1"/>
          <p:nvPr>
            <p:custDataLst>
              <p:tags r:id="rId5"/>
            </p:custDataLst>
          </p:nvPr>
        </p:nvSpPr>
        <p:spPr>
          <a:xfrm>
            <a:off x="11483965" y="6529361"/>
            <a:ext cx="504056" cy="2020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5E8B2E1-21AB-4E55-9905-30660C1783F6}" type="slidenum">
              <a:rPr lang="en-US" sz="699" smtClean="0">
                <a:latin typeface="+mn-lt"/>
              </a:rPr>
              <a:pPr/>
              <a:t>‹Nr.›</a:t>
            </a:fld>
            <a:endParaRPr lang="en-US" sz="699" dirty="0">
              <a:latin typeface="+mn-lt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52000" y="1566000"/>
            <a:ext cx="11448000" cy="504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2098"/>
              </a:lnSpc>
              <a:spcBef>
                <a:spcPts val="504"/>
              </a:spcBef>
              <a:defRPr/>
            </a:lvl1pPr>
          </a:lstStyle>
          <a:p>
            <a:r>
              <a:rPr lang="en-US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6768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Presenta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9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252003" y="2068514"/>
            <a:ext cx="11447875" cy="431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98" b="1" u="none"/>
            </a:lvl1pPr>
          </a:lstStyle>
          <a:p>
            <a:pPr lvl="0"/>
            <a:r>
              <a:rPr lang="en-GB" dirty="0" err="1"/>
              <a:t>Untertitel</a:t>
            </a:r>
            <a:endParaRPr lang="en-GB" dirty="0"/>
          </a:p>
        </p:txBody>
      </p:sp>
      <p:sp>
        <p:nvSpPr>
          <p:cNvPr id="4" name="Textfeld 3"/>
          <p:cNvSpPr txBox="1"/>
          <p:nvPr>
            <p:custDataLst>
              <p:tags r:id="rId2"/>
            </p:custDataLst>
          </p:nvPr>
        </p:nvSpPr>
        <p:spPr>
          <a:xfrm>
            <a:off x="11483965" y="6529362"/>
            <a:ext cx="50405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5E8B2E1-21AB-4E55-9905-30660C1783F6}" type="slidenum">
              <a:rPr lang="en-GB" sz="699" smtClean="0">
                <a:latin typeface="+mn-lt"/>
              </a:rPr>
              <a:pPr/>
              <a:t>‹Nr.›</a:t>
            </a:fld>
            <a:endParaRPr lang="en-GB" sz="699" dirty="0">
              <a:latin typeface="+mn-lt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52000" y="1566000"/>
            <a:ext cx="11448000" cy="504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2098"/>
              </a:lnSpc>
              <a:spcBef>
                <a:spcPts val="503"/>
              </a:spcBef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68936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2"/>
            <p:custDataLst>
              <p:tags r:id="rId1"/>
            </p:custDataLst>
          </p:nvPr>
        </p:nvSpPr>
        <p:spPr>
          <a:xfrm>
            <a:off x="252415" y="2500313"/>
            <a:ext cx="11447462" cy="3997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900"/>
              </a:lnSpc>
              <a:buNone/>
              <a:defRPr/>
            </a:lvl1pPr>
            <a:lvl2pPr>
              <a:lnSpc>
                <a:spcPts val="1900"/>
              </a:lnSpc>
              <a:defRPr/>
            </a:lvl2pPr>
            <a:lvl3pPr>
              <a:lnSpc>
                <a:spcPts val="1900"/>
              </a:lnSpc>
              <a:defRPr/>
            </a:lvl3pPr>
            <a:lvl4pPr>
              <a:lnSpc>
                <a:spcPts val="1900"/>
              </a:lnSpc>
              <a:defRPr/>
            </a:lvl4pPr>
            <a:lvl5pPr>
              <a:lnSpc>
                <a:spcPts val="1900"/>
              </a:lnSpc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4" name="Textplatzhalter 9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252002" y="2068514"/>
            <a:ext cx="11447875" cy="431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 u="none"/>
            </a:lvl1pPr>
          </a:lstStyle>
          <a:p>
            <a:pPr lvl="0"/>
            <a:r>
              <a:rPr lang="en-GB" dirty="0" err="1"/>
              <a:t>Untertitel</a:t>
            </a:r>
            <a:endParaRPr lang="en-GB" dirty="0"/>
          </a:p>
        </p:txBody>
      </p:sp>
      <p:sp>
        <p:nvSpPr>
          <p:cNvPr id="5" name="Textfeld 4"/>
          <p:cNvSpPr txBox="1"/>
          <p:nvPr>
            <p:custDataLst>
              <p:tags r:id="rId3"/>
            </p:custDataLst>
          </p:nvPr>
        </p:nvSpPr>
        <p:spPr>
          <a:xfrm>
            <a:off x="11483965" y="6529360"/>
            <a:ext cx="50405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5E8B2E1-21AB-4E55-9905-30660C1783F6}" type="slidenum">
              <a:rPr lang="en-GB" sz="700" smtClean="0">
                <a:latin typeface="+mn-lt"/>
              </a:rPr>
              <a:pPr/>
              <a:t>‹Nr.›</a:t>
            </a:fld>
            <a:endParaRPr lang="en-GB" sz="700" dirty="0">
              <a:latin typeface="+mn-lt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52000" y="1566000"/>
            <a:ext cx="11448000" cy="504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2100"/>
              </a:lnSpc>
              <a:spcBef>
                <a:spcPts val="504"/>
              </a:spcBef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29642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half" idx="2"/>
            <p:custDataLst>
              <p:tags r:id="rId1"/>
            </p:custDataLst>
          </p:nvPr>
        </p:nvSpPr>
        <p:spPr>
          <a:xfrm>
            <a:off x="259755" y="2068513"/>
            <a:ext cx="5616575" cy="44291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900"/>
              </a:lnSpc>
              <a:buNone/>
              <a:defRPr sz="1600"/>
            </a:lvl1pPr>
            <a:lvl2pPr>
              <a:lnSpc>
                <a:spcPts val="1900"/>
              </a:lnSpc>
              <a:defRPr sz="1600"/>
            </a:lvl2pPr>
            <a:lvl3pPr>
              <a:lnSpc>
                <a:spcPts val="1900"/>
              </a:lnSpc>
              <a:defRPr sz="1600"/>
            </a:lvl3pPr>
            <a:lvl4pPr>
              <a:lnSpc>
                <a:spcPts val="1900"/>
              </a:lnSpc>
              <a:defRPr sz="1600"/>
            </a:lvl4pPr>
            <a:lvl5pPr>
              <a:lnSpc>
                <a:spcPts val="1900"/>
              </a:lnSpc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3" name="Inhaltsplatzhalter 3"/>
          <p:cNvSpPr>
            <a:spLocks noGrp="1"/>
          </p:cNvSpPr>
          <p:nvPr>
            <p:ph sz="half" idx="14"/>
            <p:custDataLst>
              <p:tags r:id="rId2"/>
            </p:custDataLst>
          </p:nvPr>
        </p:nvSpPr>
        <p:spPr>
          <a:xfrm>
            <a:off x="6083300" y="2068514"/>
            <a:ext cx="5616575" cy="44291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900"/>
              </a:lnSpc>
              <a:buNone/>
              <a:defRPr sz="1600"/>
            </a:lvl1pPr>
            <a:lvl2pPr>
              <a:lnSpc>
                <a:spcPts val="1900"/>
              </a:lnSpc>
              <a:defRPr sz="1600"/>
            </a:lvl2pPr>
            <a:lvl3pPr>
              <a:lnSpc>
                <a:spcPts val="1900"/>
              </a:lnSpc>
              <a:defRPr sz="1600"/>
            </a:lvl3pPr>
            <a:lvl4pPr>
              <a:lnSpc>
                <a:spcPts val="1900"/>
              </a:lnSpc>
              <a:defRPr sz="1600"/>
            </a:lvl4pPr>
            <a:lvl5pPr>
              <a:lnSpc>
                <a:spcPts val="1900"/>
              </a:lnSpc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7" name="Textfeld 6"/>
          <p:cNvSpPr txBox="1"/>
          <p:nvPr>
            <p:custDataLst>
              <p:tags r:id="rId3"/>
            </p:custDataLst>
          </p:nvPr>
        </p:nvSpPr>
        <p:spPr>
          <a:xfrm>
            <a:off x="11483965" y="6529360"/>
            <a:ext cx="50405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5E8B2E1-21AB-4E55-9905-30660C1783F6}" type="slidenum">
              <a:rPr lang="en-GB" sz="700" smtClean="0">
                <a:latin typeface="+mn-lt"/>
              </a:rPr>
              <a:pPr/>
              <a:t>‹Nr.›</a:t>
            </a:fld>
            <a:endParaRPr lang="en-GB" sz="700" dirty="0">
              <a:latin typeface="+mn-lt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52000" y="1566000"/>
            <a:ext cx="11448000" cy="504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2100"/>
              </a:lnSpc>
              <a:spcBef>
                <a:spcPts val="504"/>
              </a:spcBef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23730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6"/>
          <p:cNvSpPr txBox="1"/>
          <p:nvPr userDrawn="1">
            <p:custDataLst>
              <p:tags r:id="rId1"/>
            </p:custDataLst>
          </p:nvPr>
        </p:nvSpPr>
        <p:spPr>
          <a:xfrm>
            <a:off x="11483965" y="6529360"/>
            <a:ext cx="50405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5E8B2E1-21AB-4E55-9905-30660C1783F6}" type="slidenum">
              <a:rPr lang="en-GB" sz="700" smtClean="0">
                <a:latin typeface="+mn-lt"/>
              </a:rPr>
              <a:pPr/>
              <a:t>‹Nr.›</a:t>
            </a:fld>
            <a:endParaRPr lang="en-GB" sz="700" dirty="0">
              <a:latin typeface="+mn-lt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  <p:custDataLst>
              <p:tags r:id="rId2"/>
            </p:custDataLst>
          </p:nvPr>
        </p:nvSpPr>
        <p:spPr>
          <a:xfrm>
            <a:off x="259200" y="2068513"/>
            <a:ext cx="3664800" cy="4428000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4179600" y="2070000"/>
            <a:ext cx="3596400" cy="4428000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8" name="Content Placeholder 5"/>
          <p:cNvSpPr>
            <a:spLocks noGrp="1"/>
          </p:cNvSpPr>
          <p:nvPr>
            <p:ph sz="quarter" idx="14"/>
            <p:custDataLst>
              <p:tags r:id="rId4"/>
            </p:custDataLst>
          </p:nvPr>
        </p:nvSpPr>
        <p:spPr>
          <a:xfrm>
            <a:off x="7992000" y="2070000"/>
            <a:ext cx="3708000" cy="4428000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252000" y="1566000"/>
            <a:ext cx="11448000" cy="504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2100"/>
              </a:lnSpc>
              <a:spcBef>
                <a:spcPts val="504"/>
              </a:spcBef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38454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>
            <p:custDataLst>
              <p:tags r:id="rId1"/>
            </p:custDataLst>
          </p:nvPr>
        </p:nvSpPr>
        <p:spPr>
          <a:xfrm>
            <a:off x="11483965" y="6529360"/>
            <a:ext cx="50405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5E8B2E1-21AB-4E55-9905-30660C1783F6}" type="slidenum">
              <a:rPr lang="en-GB" sz="700" smtClean="0">
                <a:latin typeface="+mn-lt"/>
              </a:rPr>
              <a:pPr/>
              <a:t>‹Nr.›</a:t>
            </a:fld>
            <a:endParaRPr lang="en-GB" sz="700" dirty="0">
              <a:latin typeface="+mn-lt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252000" y="1566000"/>
            <a:ext cx="11448000" cy="504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2100"/>
              </a:lnSpc>
              <a:spcBef>
                <a:spcPts val="504"/>
              </a:spcBef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  <p:custDataLst>
              <p:tags r:id="rId3"/>
            </p:custDataLst>
          </p:nvPr>
        </p:nvSpPr>
        <p:spPr>
          <a:xfrm>
            <a:off x="252413" y="2502000"/>
            <a:ext cx="11447462" cy="399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>
                <a:solidFill>
                  <a:schemeClr val="accent2"/>
                </a:solidFill>
              </a:defRPr>
            </a:lvl1pPr>
            <a:lvl2pPr marL="0" indent="0">
              <a:buFontTx/>
              <a:buNone/>
              <a:defRPr/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14382577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half" idx="2"/>
            <p:custDataLst>
              <p:tags r:id="rId1"/>
            </p:custDataLst>
          </p:nvPr>
        </p:nvSpPr>
        <p:spPr>
          <a:xfrm>
            <a:off x="259755" y="2500313"/>
            <a:ext cx="5616575" cy="3997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900"/>
              </a:lnSpc>
              <a:buNone/>
              <a:defRPr sz="1600"/>
            </a:lvl1pPr>
            <a:lvl2pPr>
              <a:lnSpc>
                <a:spcPts val="1900"/>
              </a:lnSpc>
              <a:defRPr sz="1600"/>
            </a:lvl2pPr>
            <a:lvl3pPr>
              <a:lnSpc>
                <a:spcPts val="1900"/>
              </a:lnSpc>
              <a:defRPr sz="1600"/>
            </a:lvl3pPr>
            <a:lvl4pPr>
              <a:lnSpc>
                <a:spcPts val="1900"/>
              </a:lnSpc>
              <a:defRPr sz="1600"/>
            </a:lvl4pPr>
            <a:lvl5pPr>
              <a:lnSpc>
                <a:spcPts val="1900"/>
              </a:lnSpc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252002" y="2068562"/>
            <a:ext cx="5615401" cy="4317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 u="none"/>
            </a:lvl1pPr>
          </a:lstStyle>
          <a:p>
            <a:pPr lvl="0"/>
            <a:r>
              <a:rPr lang="en-GB" dirty="0" err="1"/>
              <a:t>Untertitel</a:t>
            </a:r>
            <a:endParaRPr lang="en-GB" dirty="0"/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6093999" y="2068562"/>
            <a:ext cx="5613630" cy="4317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 u="none"/>
            </a:lvl1pPr>
          </a:lstStyle>
          <a:p>
            <a:pPr lvl="0"/>
            <a:r>
              <a:rPr lang="en-GB" dirty="0" err="1"/>
              <a:t>Untertitel</a:t>
            </a:r>
            <a:endParaRPr lang="en-GB" dirty="0"/>
          </a:p>
        </p:txBody>
      </p:sp>
      <p:sp>
        <p:nvSpPr>
          <p:cNvPr id="13" name="Inhaltsplatzhalter 3"/>
          <p:cNvSpPr>
            <a:spLocks noGrp="1"/>
          </p:cNvSpPr>
          <p:nvPr>
            <p:ph sz="half" idx="14"/>
            <p:custDataLst>
              <p:tags r:id="rId4"/>
            </p:custDataLst>
          </p:nvPr>
        </p:nvSpPr>
        <p:spPr>
          <a:xfrm>
            <a:off x="6083302" y="2500313"/>
            <a:ext cx="5585678" cy="3997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900"/>
              </a:lnSpc>
              <a:buNone/>
              <a:defRPr sz="1600"/>
            </a:lvl1pPr>
            <a:lvl2pPr>
              <a:lnSpc>
                <a:spcPts val="1900"/>
              </a:lnSpc>
              <a:defRPr sz="1600"/>
            </a:lvl2pPr>
            <a:lvl3pPr>
              <a:lnSpc>
                <a:spcPts val="1900"/>
              </a:lnSpc>
              <a:defRPr sz="1600"/>
            </a:lvl3pPr>
            <a:lvl4pPr>
              <a:lnSpc>
                <a:spcPts val="1900"/>
              </a:lnSpc>
              <a:defRPr sz="1600"/>
            </a:lvl4pPr>
            <a:lvl5pPr>
              <a:lnSpc>
                <a:spcPts val="1900"/>
              </a:lnSpc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7" name="Textfeld 6"/>
          <p:cNvSpPr txBox="1"/>
          <p:nvPr>
            <p:custDataLst>
              <p:tags r:id="rId5"/>
            </p:custDataLst>
          </p:nvPr>
        </p:nvSpPr>
        <p:spPr>
          <a:xfrm>
            <a:off x="11483965" y="6529360"/>
            <a:ext cx="50405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5E8B2E1-21AB-4E55-9905-30660C1783F6}" type="slidenum">
              <a:rPr lang="en-GB" sz="700" smtClean="0">
                <a:latin typeface="+mn-lt"/>
              </a:rPr>
              <a:pPr/>
              <a:t>‹Nr.›</a:t>
            </a:fld>
            <a:endParaRPr lang="en-GB" sz="700" dirty="0">
              <a:latin typeface="+mn-lt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252000" y="1566000"/>
            <a:ext cx="11448000" cy="504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2100"/>
              </a:lnSpc>
              <a:spcBef>
                <a:spcPts val="504"/>
              </a:spcBef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76204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/>
          <p:cNvSpPr txBox="1"/>
          <p:nvPr>
            <p:custDataLst>
              <p:tags r:id="rId1"/>
            </p:custDataLst>
          </p:nvPr>
        </p:nvSpPr>
        <p:spPr>
          <a:xfrm>
            <a:off x="11483965" y="6529360"/>
            <a:ext cx="50405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5E8B2E1-21AB-4E55-9905-30660C1783F6}" type="slidenum">
              <a:rPr lang="en-GB" sz="700" smtClean="0">
                <a:latin typeface="+mn-lt"/>
              </a:rPr>
              <a:pPr/>
              <a:t>‹Nr.›</a:t>
            </a:fld>
            <a:endParaRPr lang="en-GB" sz="700" dirty="0">
              <a:latin typeface="+mn-lt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252000" y="1566000"/>
            <a:ext cx="11448000" cy="504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2100"/>
              </a:lnSpc>
              <a:spcBef>
                <a:spcPts val="504"/>
              </a:spcBef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54266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/>
          <p:cNvSpPr txBox="1"/>
          <p:nvPr>
            <p:custDataLst>
              <p:tags r:id="rId1"/>
            </p:custDataLst>
          </p:nvPr>
        </p:nvSpPr>
        <p:spPr>
          <a:xfrm>
            <a:off x="11483965" y="6529360"/>
            <a:ext cx="50405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5E8B2E1-21AB-4E55-9905-30660C1783F6}" type="slidenum">
              <a:rPr lang="en-GB" sz="700" smtClean="0">
                <a:latin typeface="+mn-lt"/>
              </a:rPr>
              <a:pPr/>
              <a:t>‹Nr.›</a:t>
            </a:fld>
            <a:endParaRPr lang="en-GB" sz="700" dirty="0">
              <a:latin typeface="+mn-lt"/>
            </a:endParaRPr>
          </a:p>
        </p:txBody>
      </p:sp>
      <p:sp>
        <p:nvSpPr>
          <p:cNvPr id="3" name="Media Placeholder 2"/>
          <p:cNvSpPr>
            <a:spLocks noGrp="1"/>
          </p:cNvSpPr>
          <p:nvPr>
            <p:ph type="media" sz="quarter" idx="12"/>
          </p:nvPr>
        </p:nvSpPr>
        <p:spPr>
          <a:xfrm>
            <a:off x="252413" y="2068513"/>
            <a:ext cx="11447462" cy="4429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Mediaclip durch Klicken auf Symbol hinzufügen</a:t>
            </a:r>
            <a:endParaRPr lang="en-GB"/>
          </a:p>
        </p:txBody>
      </p:sp>
      <p:sp>
        <p:nvSpPr>
          <p:cNvPr id="6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252000" y="1566000"/>
            <a:ext cx="11448000" cy="504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2100"/>
              </a:lnSpc>
              <a:spcBef>
                <a:spcPts val="504"/>
              </a:spcBef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75237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4"/>
          <p:cNvSpPr txBox="1"/>
          <p:nvPr userDrawn="1">
            <p:custDataLst>
              <p:tags r:id="rId1"/>
            </p:custDataLst>
          </p:nvPr>
        </p:nvSpPr>
        <p:spPr>
          <a:xfrm>
            <a:off x="11483965" y="6529360"/>
            <a:ext cx="50405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5E8B2E1-21AB-4E55-9905-30660C1783F6}" type="slidenum">
              <a:rPr lang="en-GB" sz="700" smtClean="0">
                <a:latin typeface="+mn-lt"/>
              </a:rPr>
              <a:pPr/>
              <a:t>‹Nr.›</a:t>
            </a:fld>
            <a:endParaRPr lang="en-GB" sz="7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620994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6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tags" Target="../tags/tag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2" name="Rectangle 28"/>
          <p:cNvSpPr>
            <a:spLocks noChangeArrowheads="1"/>
          </p:cNvSpPr>
          <p:nvPr/>
        </p:nvSpPr>
        <p:spPr bwMode="auto">
          <a:xfrm>
            <a:off x="6773865" y="-642938"/>
            <a:ext cx="1847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defRPr/>
            </a:pPr>
            <a:endParaRPr lang="en-GB" sz="1800" dirty="0"/>
          </a:p>
        </p:txBody>
      </p:sp>
      <p:cxnSp>
        <p:nvCxnSpPr>
          <p:cNvPr id="33" name="Gerade Verbindung 7"/>
          <p:cNvCxnSpPr/>
          <p:nvPr/>
        </p:nvCxnSpPr>
        <p:spPr>
          <a:xfrm flipV="1">
            <a:off x="250714" y="6529358"/>
            <a:ext cx="11451600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7"/>
          <p:cNvCxnSpPr/>
          <p:nvPr/>
        </p:nvCxnSpPr>
        <p:spPr>
          <a:xfrm flipV="1">
            <a:off x="250129" y="1276474"/>
            <a:ext cx="11449746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4" descr="Z:\DE\Data\CorporateDesign\2_CDP\2_Druck\02_Gestaltung_Logo\4_Original\Daten\Festo_Logo_4c_22mm.png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10942700" y="994407"/>
            <a:ext cx="756480" cy="137956"/>
          </a:xfrm>
          <a:prstGeom prst="rect">
            <a:avLst/>
          </a:prstGeom>
          <a:noFill/>
        </p:spPr>
      </p:pic>
      <p:sp>
        <p:nvSpPr>
          <p:cNvPr id="28" name="FESTO_ERSTELLT"/>
          <p:cNvSpPr txBox="1"/>
          <p:nvPr>
            <p:custDataLst>
              <p:tags r:id="rId17"/>
            </p:custDataLst>
          </p:nvPr>
        </p:nvSpPr>
        <p:spPr>
          <a:xfrm>
            <a:off x="4607408" y="6581745"/>
            <a:ext cx="1007902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0">
                <a:latin typeface="+mn-lt"/>
              </a:rPr>
              <a:t>Created: 10/6/2020</a:t>
            </a:r>
            <a:endParaRPr lang="en-GB" sz="700" dirty="0">
              <a:latin typeface="+mn-lt"/>
            </a:endParaRPr>
          </a:p>
        </p:txBody>
      </p:sp>
      <p:sp>
        <p:nvSpPr>
          <p:cNvPr id="29" name="FESTO_GEAENDERT" hidden="1"/>
          <p:cNvSpPr txBox="1"/>
          <p:nvPr>
            <p:custDataLst>
              <p:tags r:id="rId18"/>
            </p:custDataLst>
          </p:nvPr>
        </p:nvSpPr>
        <p:spPr>
          <a:xfrm>
            <a:off x="6515572" y="6581745"/>
            <a:ext cx="144000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endParaRPr lang="en-GB" sz="700" dirty="0">
              <a:latin typeface="+mn-lt"/>
            </a:endParaRPr>
          </a:p>
        </p:txBody>
      </p:sp>
      <p:sp>
        <p:nvSpPr>
          <p:cNvPr id="30" name="FESTO_STATUS1"/>
          <p:cNvSpPr txBox="1"/>
          <p:nvPr>
            <p:custDataLst>
              <p:tags r:id="rId19"/>
            </p:custDataLst>
          </p:nvPr>
        </p:nvSpPr>
        <p:spPr>
          <a:xfrm>
            <a:off x="7991575" y="6581745"/>
            <a:ext cx="144000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0">
                <a:latin typeface="+mn-lt"/>
              </a:rPr>
              <a:t> </a:t>
            </a:r>
            <a:endParaRPr lang="en-GB" sz="700" dirty="0">
              <a:latin typeface="+mn-lt"/>
            </a:endParaRPr>
          </a:p>
        </p:txBody>
      </p:sp>
      <p:sp>
        <p:nvSpPr>
          <p:cNvPr id="9" name="FESTO_NAME">
            <a:extLst>
              <a:ext uri="{FF2B5EF4-FFF2-40B4-BE49-F238E27FC236}">
                <a16:creationId xmlns:a16="http://schemas.microsoft.com/office/drawing/2014/main" id="{A055CD3F-EA2A-4B6D-AD73-381434B17155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252000" y="6566400"/>
            <a:ext cx="1857600" cy="126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700" baseline="0">
                <a:latin typeface="+mn-lt"/>
              </a:rPr>
              <a:t>Festo_SK-AE</a:t>
            </a:r>
            <a:endParaRPr lang="de-DE" sz="700" dirty="0">
              <a:latin typeface="+mn-lt"/>
            </a:endParaRPr>
          </a:p>
        </p:txBody>
      </p:sp>
      <p:sp>
        <p:nvSpPr>
          <p:cNvPr id="10" name="FESTO_TITEL">
            <a:extLst>
              <a:ext uri="{FF2B5EF4-FFF2-40B4-BE49-F238E27FC236}">
                <a16:creationId xmlns:a16="http://schemas.microsoft.com/office/drawing/2014/main" id="{D024B6FE-8B40-4058-96FE-1C2C9965AC76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2161221" y="6566400"/>
            <a:ext cx="3819600" cy="126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91431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>
                <a:solidFill>
                  <a:schemeClr val="tx1"/>
                </a:solidFill>
                <a:latin typeface="MetaPlusLF" pitchFamily="34" charset="0"/>
                <a:ea typeface="+mn-ea"/>
                <a:cs typeface="+mn-cs"/>
              </a:rPr>
              <a:t>VTSA-F-CB configuration rules_EtherNET IP</a:t>
            </a:r>
            <a:endParaRPr lang="de-DE" sz="700" kern="1200">
              <a:solidFill>
                <a:schemeClr val="tx1"/>
              </a:solidFill>
              <a:latin typeface="MetaPlusLF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6092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71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5" r:id="rId12"/>
    <p:sldLayoutId id="2147483676" r:id="rId13"/>
    <p:sldLayoutId id="2147483678" r:id="rId14"/>
    <p:sldLayoutId id="2147483682" r:id="rId15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MetaPlusLF" pitchFamily="2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MetaPlusLF" pitchFamily="2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MetaPlusLF" pitchFamily="2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MetaPlusLF" pitchFamily="2" charset="0"/>
        </a:defRPr>
      </a:lvl5pPr>
      <a:lvl6pPr marL="457159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MetaPlusLF" pitchFamily="2" charset="0"/>
        </a:defRPr>
      </a:lvl6pPr>
      <a:lvl7pPr marL="914316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MetaPlusLF" pitchFamily="2" charset="0"/>
        </a:defRPr>
      </a:lvl7pPr>
      <a:lvl8pPr marL="1371475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MetaPlusLF" pitchFamily="2" charset="0"/>
        </a:defRPr>
      </a:lvl8pPr>
      <a:lvl9pPr marL="1828634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MetaPlusLF" pitchFamily="2" charset="0"/>
        </a:defRPr>
      </a:lvl9pPr>
    </p:titleStyle>
    <p:bodyStyle>
      <a:lvl1pPr marL="342869" indent="-342869" algn="l" rtl="0" eaLnBrk="1" fontAlgn="base" hangingPunct="1">
        <a:lnSpc>
          <a:spcPts val="2100"/>
        </a:lnSpc>
        <a:spcBef>
          <a:spcPct val="20000"/>
        </a:spcBef>
        <a:spcAft>
          <a:spcPct val="0"/>
        </a:spcAft>
        <a:buFont typeface="MetaPlusLF" pitchFamily="2" charset="0"/>
        <a:buAutoNum type="arabi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82" indent="-285724" algn="l" rtl="0" eaLnBrk="1" fontAlgn="base" hangingPunct="1">
        <a:lnSpc>
          <a:spcPts val="2100"/>
        </a:lnSpc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96" indent="-228579" algn="l" rtl="0" eaLnBrk="1" fontAlgn="base" hangingPunct="1">
        <a:lnSpc>
          <a:spcPts val="2100"/>
        </a:lnSpc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55" indent="-228579" algn="l" rtl="0" eaLnBrk="1" fontAlgn="base" hangingPunct="1">
        <a:lnSpc>
          <a:spcPts val="2100"/>
        </a:lnSpc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14" indent="-228579" algn="l" rtl="0" eaLnBrk="1" fontAlgn="base" hangingPunct="1">
        <a:lnSpc>
          <a:spcPts val="2100"/>
        </a:lnSpc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71" indent="-228579" algn="l" defTabSz="91431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30" indent="-228579" algn="l" defTabSz="91431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89" indent="-228579" algn="l" defTabSz="91431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48" indent="-228579" algn="l" defTabSz="91431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9" algn="l" defTabSz="9143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6" algn="l" defTabSz="9143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5" algn="l" defTabSz="9143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34" algn="l" defTabSz="9143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93" algn="l" defTabSz="9143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50" algn="l" defTabSz="9143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09" algn="l" defTabSz="9143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68" algn="l" defTabSz="9143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9632">
          <p15:clr>
            <a:srgbClr val="F26B43"/>
          </p15:clr>
        </p15:guide>
        <p15:guide id="5" pos="3764">
          <p15:clr>
            <a:srgbClr val="A4A3A4"/>
          </p15:clr>
        </p15:guide>
        <p15:guide id="8" pos="158">
          <p15:clr>
            <a:srgbClr val="F26B43"/>
          </p15:clr>
        </p15:guide>
        <p15:guide id="9" orient="horz" pos="4093">
          <p15:clr>
            <a:srgbClr val="F26B43"/>
          </p15:clr>
        </p15:guide>
        <p15:guide id="10" orient="horz" pos="986">
          <p15:clr>
            <a:srgbClr val="F26B43"/>
          </p15:clr>
        </p15:guide>
        <p15:guide id="11" orient="horz" pos="1303">
          <p15:clr>
            <a:srgbClr val="F26B43"/>
          </p15:clr>
        </p15:guide>
        <p15:guide id="12" orient="horz" pos="1575">
          <p15:clr>
            <a:srgbClr val="F26B43"/>
          </p15:clr>
        </p15:guide>
        <p15:guide id="13" orient="horz" pos="2823">
          <p15:clr>
            <a:srgbClr val="A4A3A4"/>
          </p15:clr>
        </p15:guide>
        <p15:guide id="0" pos="737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53.xml"/><Relationship Id="rId7" Type="http://schemas.openxmlformats.org/officeDocument/2006/relationships/image" Target="../media/image3.png"/><Relationship Id="rId2" Type="http://schemas.openxmlformats.org/officeDocument/2006/relationships/tags" Target="../tags/tag52.xml"/><Relationship Id="rId1" Type="http://schemas.openxmlformats.org/officeDocument/2006/relationships/vmlDrawing" Target="../drawings/vmlDrawing4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4.png"/><Relationship Id="rId4" Type="http://schemas.openxmlformats.org/officeDocument/2006/relationships/tags" Target="../tags/tag54.xml"/><Relationship Id="rId9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g"/><Relationship Id="rId3" Type="http://schemas.openxmlformats.org/officeDocument/2006/relationships/tags" Target="../tags/tag56.xml"/><Relationship Id="rId7" Type="http://schemas.openxmlformats.org/officeDocument/2006/relationships/image" Target="../media/image2.emf"/><Relationship Id="rId2" Type="http://schemas.openxmlformats.org/officeDocument/2006/relationships/tags" Target="../tags/tag55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jp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58.xml"/><Relationship Id="rId7" Type="http://schemas.openxmlformats.org/officeDocument/2006/relationships/oleObject" Target="../embeddings/oleObject6.bin"/><Relationship Id="rId2" Type="http://schemas.openxmlformats.org/officeDocument/2006/relationships/tags" Target="../tags/tag57.xml"/><Relationship Id="rId1" Type="http://schemas.openxmlformats.org/officeDocument/2006/relationships/vmlDrawing" Target="../drawings/vmlDrawing6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10.png"/><Relationship Id="rId4" Type="http://schemas.openxmlformats.org/officeDocument/2006/relationships/tags" Target="../tags/tag59.xml"/><Relationship Id="rId9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3" Type="http://schemas.openxmlformats.org/officeDocument/2006/relationships/tags" Target="../tags/tag61.xml"/><Relationship Id="rId7" Type="http://schemas.openxmlformats.org/officeDocument/2006/relationships/image" Target="../media/image8.emf"/><Relationship Id="rId12" Type="http://schemas.openxmlformats.org/officeDocument/2006/relationships/image" Target="../media/image15.png"/><Relationship Id="rId2" Type="http://schemas.openxmlformats.org/officeDocument/2006/relationships/tags" Target="../tags/tag60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14.png"/><Relationship Id="rId5" Type="http://schemas.openxmlformats.org/officeDocument/2006/relationships/slideLayout" Target="../slideLayouts/slideLayout15.xml"/><Relationship Id="rId10" Type="http://schemas.openxmlformats.org/officeDocument/2006/relationships/image" Target="../media/image13.png"/><Relationship Id="rId4" Type="http://schemas.openxmlformats.org/officeDocument/2006/relationships/tags" Target="../tags/tag62.xml"/><Relationship Id="rId9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64.xml"/><Relationship Id="rId7" Type="http://schemas.openxmlformats.org/officeDocument/2006/relationships/tags" Target="../tags/tag68.xml"/><Relationship Id="rId12" Type="http://schemas.openxmlformats.org/officeDocument/2006/relationships/tags" Target="../tags/tag73.xml"/><Relationship Id="rId2" Type="http://schemas.openxmlformats.org/officeDocument/2006/relationships/tags" Target="../tags/tag63.xml"/><Relationship Id="rId16" Type="http://schemas.openxmlformats.org/officeDocument/2006/relationships/image" Target="../media/image17.jpeg"/><Relationship Id="rId1" Type="http://schemas.openxmlformats.org/officeDocument/2006/relationships/vmlDrawing" Target="../drawings/vmlDrawing8.vml"/><Relationship Id="rId6" Type="http://schemas.openxmlformats.org/officeDocument/2006/relationships/tags" Target="../tags/tag67.xml"/><Relationship Id="rId11" Type="http://schemas.openxmlformats.org/officeDocument/2006/relationships/tags" Target="../tags/tag72.xml"/><Relationship Id="rId5" Type="http://schemas.openxmlformats.org/officeDocument/2006/relationships/tags" Target="../tags/tag66.xml"/><Relationship Id="rId15" Type="http://schemas.openxmlformats.org/officeDocument/2006/relationships/image" Target="../media/image8.emf"/><Relationship Id="rId10" Type="http://schemas.openxmlformats.org/officeDocument/2006/relationships/tags" Target="../tags/tag71.xml"/><Relationship Id="rId4" Type="http://schemas.openxmlformats.org/officeDocument/2006/relationships/tags" Target="../tags/tag65.xml"/><Relationship Id="rId9" Type="http://schemas.openxmlformats.org/officeDocument/2006/relationships/tags" Target="../tags/tag70.xml"/><Relationship Id="rId1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75.xml"/><Relationship Id="rId7" Type="http://schemas.openxmlformats.org/officeDocument/2006/relationships/hyperlink" Target="https://www.festo.com/net/SupportPortal/Files/663964/CPX-FMT%20FAQ%20L5K%20Export%20to%20RSLogix%20Import.pdf" TargetMode="External"/><Relationship Id="rId2" Type="http://schemas.openxmlformats.org/officeDocument/2006/relationships/tags" Target="../tags/tag7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77.xml"/><Relationship Id="rId7" Type="http://schemas.openxmlformats.org/officeDocument/2006/relationships/image" Target="../media/image21.png"/><Relationship Id="rId2" Type="http://schemas.openxmlformats.org/officeDocument/2006/relationships/tags" Target="../tags/tag7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79.xml"/><Relationship Id="rId7" Type="http://schemas.openxmlformats.org/officeDocument/2006/relationships/image" Target="../media/image23.png"/><Relationship Id="rId2" Type="http://schemas.openxmlformats.org/officeDocument/2006/relationships/tags" Target="../tags/tag7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973AE210-A173-4665-9D5F-600FD1230E1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7157"/>
          <a:stretch/>
        </p:blipFill>
        <p:spPr>
          <a:xfrm>
            <a:off x="7234153" y="1682192"/>
            <a:ext cx="4367392" cy="3011274"/>
          </a:xfrm>
          <a:prstGeom prst="rect">
            <a:avLst/>
          </a:prstGeom>
        </p:spPr>
      </p:pic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A1E7EE5-5BC1-41DB-8FB0-317D09D1467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7930" y="5159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Folie" r:id="rId8" imgW="473" imgH="473" progId="TCLayout.ActiveDocument.1">
                  <p:embed/>
                </p:oleObj>
              </mc:Choice>
              <mc:Fallback>
                <p:oleObj name="think-cell Folie" r:id="rId8" imgW="473" imgH="47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A1E7EE5-5BC1-41DB-8FB0-317D09D146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7930" y="5159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0CC647C-FB25-43E7-B7EE-10CD74F84FC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344" y="3572"/>
            <a:ext cx="158581" cy="15858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194198">
              <a:lnSpc>
                <a:spcPts val="2098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GB" sz="2745" b="1" dirty="0">
              <a:solidFill>
                <a:srgbClr val="FFFFFF"/>
              </a:solidFill>
              <a:latin typeface="MetaPlusLF" panose="02000503060000020004" pitchFamily="2" charset="0"/>
              <a:ea typeface="+mj-ea"/>
              <a:cs typeface="+mj-cs"/>
              <a:sym typeface="MetaPlusLF" panose="02000503060000020004" pitchFamily="2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745"/>
              <a:t>CPX/VTSA-F-CB</a:t>
            </a:r>
            <a:endParaRPr lang="en-GB" sz="2398" dirty="0"/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B0158781-5249-45CE-87B3-2D3DDD4368DF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349157" y="2162294"/>
            <a:ext cx="4583014" cy="804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fontAlgn="base">
              <a:spcBef>
                <a:spcPct val="20000"/>
              </a:spcBef>
              <a:spcAft>
                <a:spcPct val="0"/>
              </a:spcAft>
              <a:buFont typeface="MetaPlusLF" pitchFamily="2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194198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568" b="1">
                <a:solidFill>
                  <a:srgbClr val="167FB7"/>
                </a:solidFill>
              </a:rPr>
              <a:t>ETHERNET-IP/ETHERCAT</a:t>
            </a:r>
          </a:p>
          <a:p>
            <a:pPr defTabSz="1194198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568" b="1">
                <a:solidFill>
                  <a:srgbClr val="167FB7"/>
                </a:solidFill>
              </a:rPr>
              <a:t>CONFIGURATIONE RULES</a:t>
            </a:r>
            <a:endParaRPr lang="en-GB" sz="1568" dirty="0">
              <a:solidFill>
                <a:srgbClr val="167FB7"/>
              </a:solidFill>
            </a:endParaRPr>
          </a:p>
        </p:txBody>
      </p:sp>
      <p:pic>
        <p:nvPicPr>
          <p:cNvPr id="8" name="Picture 2" descr="C:\Users\jrgt\AppData\Local\Temp\SNAGHTML14a42b.PNG">
            <a:extLst>
              <a:ext uri="{FF2B5EF4-FFF2-40B4-BE49-F238E27FC236}">
                <a16:creationId xmlns:a16="http://schemas.microsoft.com/office/drawing/2014/main" id="{8F208872-6CA8-46CB-A191-84309CD561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0840" y="3823387"/>
            <a:ext cx="5228299" cy="2573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724701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4E4E769-411D-46B9-BA36-DFEA786AE5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56" y="5128"/>
          <a:ext cx="1557" cy="15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Folie" r:id="rId6" imgW="395" imgH="394" progId="TCLayout.ActiveDocument.1">
                  <p:embed/>
                </p:oleObj>
              </mc:Choice>
              <mc:Fallback>
                <p:oleObj name="think-cell Folie" r:id="rId6" imgW="395" imgH="39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4E4E769-411D-46B9-BA36-DFEA786AE5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6" y="5128"/>
                        <a:ext cx="1557" cy="15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1A9CB2E1-D85B-4B50-8623-F8CC3F27ACA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3572"/>
            <a:ext cx="155608" cy="15560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2058" b="1" dirty="0">
              <a:latin typeface="MetaPlusLF" panose="02000503060000020004" pitchFamily="2" charset="0"/>
              <a:ea typeface="+mj-ea"/>
              <a:cs typeface="+mj-cs"/>
              <a:sym typeface="MetaPlusLF" panose="02000503060000020004" pitchFamily="2" charset="0"/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E782FBA7-74DF-4A8B-823F-B0DD51D91D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6007" y="1422575"/>
            <a:ext cx="11435848" cy="503465"/>
          </a:xfrm>
        </p:spPr>
        <p:txBody>
          <a:bodyPr/>
          <a:lstStyle/>
          <a:p>
            <a:r>
              <a:rPr lang="en-GB" sz="2058"/>
              <a:t>CPX/VTSA-F-CB  –  Brief description</a:t>
            </a:r>
            <a:endParaRPr lang="en-GB" sz="2058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19905CC-E81E-469F-8D29-A203B2188C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2409" fontAlgn="base">
              <a:spcBef>
                <a:spcPct val="0"/>
              </a:spcBef>
              <a:spcAft>
                <a:spcPct val="0"/>
              </a:spcAft>
            </a:pPr>
            <a:r>
              <a:rPr lang="en-GB" sz="2351">
                <a:solidFill>
                  <a:srgbClr val="000000"/>
                </a:solidFill>
                <a:latin typeface="MetaPlusLF"/>
              </a:rPr>
              <a:t> </a:t>
            </a:r>
            <a:endParaRPr lang="en-GB" sz="2351" dirty="0">
              <a:solidFill>
                <a:srgbClr val="000000"/>
              </a:solidFill>
              <a:latin typeface="MetaPlusLF"/>
            </a:endParaRPr>
          </a:p>
        </p:txBody>
      </p:sp>
      <p:sp>
        <p:nvSpPr>
          <p:cNvPr id="8" name="object 162">
            <a:extLst>
              <a:ext uri="{FF2B5EF4-FFF2-40B4-BE49-F238E27FC236}">
                <a16:creationId xmlns:a16="http://schemas.microsoft.com/office/drawing/2014/main" id="{7CC1A311-C7D9-43A0-9F17-70D7F283CD4B}"/>
              </a:ext>
            </a:extLst>
          </p:cNvPr>
          <p:cNvSpPr/>
          <p:nvPr/>
        </p:nvSpPr>
        <p:spPr>
          <a:xfrm>
            <a:off x="6577326" y="3896796"/>
            <a:ext cx="2692282" cy="2560967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1194198"/>
            <a:endParaRPr lang="en-GB" sz="2351" dirty="0">
              <a:solidFill>
                <a:srgbClr val="000000"/>
              </a:solidFill>
              <a:latin typeface="MetaPlusLF"/>
            </a:endParaRPr>
          </a:p>
        </p:txBody>
      </p:sp>
      <p:sp>
        <p:nvSpPr>
          <p:cNvPr id="9" name="object 163">
            <a:extLst>
              <a:ext uri="{FF2B5EF4-FFF2-40B4-BE49-F238E27FC236}">
                <a16:creationId xmlns:a16="http://schemas.microsoft.com/office/drawing/2014/main" id="{E707442A-D115-4A10-85EA-78A8695B1C02}"/>
              </a:ext>
            </a:extLst>
          </p:cNvPr>
          <p:cNvSpPr/>
          <p:nvPr/>
        </p:nvSpPr>
        <p:spPr>
          <a:xfrm>
            <a:off x="2452317" y="3851405"/>
            <a:ext cx="4125007" cy="259400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1194198"/>
            <a:endParaRPr lang="en-GB" sz="2351" dirty="0">
              <a:solidFill>
                <a:srgbClr val="000000"/>
              </a:solidFill>
              <a:latin typeface="MetaPlusLF"/>
            </a:endParaRPr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6C0C62AC-C82C-4282-A91A-661A6724F74B}"/>
              </a:ext>
            </a:extLst>
          </p:cNvPr>
          <p:cNvGrpSpPr/>
          <p:nvPr/>
        </p:nvGrpSpPr>
        <p:grpSpPr>
          <a:xfrm>
            <a:off x="4435257" y="5050554"/>
            <a:ext cx="2126880" cy="215770"/>
            <a:chOff x="5043954" y="4621859"/>
            <a:chExt cx="1852295" cy="216000"/>
          </a:xfrm>
        </p:grpSpPr>
        <p:sp>
          <p:nvSpPr>
            <p:cNvPr id="16" name="object 175">
              <a:extLst>
                <a:ext uri="{FF2B5EF4-FFF2-40B4-BE49-F238E27FC236}">
                  <a16:creationId xmlns:a16="http://schemas.microsoft.com/office/drawing/2014/main" id="{F2D82E4A-A28D-4045-9CBB-E659B1F5A68E}"/>
                </a:ext>
              </a:extLst>
            </p:cNvPr>
            <p:cNvSpPr/>
            <p:nvPr/>
          </p:nvSpPr>
          <p:spPr>
            <a:xfrm>
              <a:off x="5494667" y="4706364"/>
              <a:ext cx="46990" cy="46990"/>
            </a:xfrm>
            <a:custGeom>
              <a:avLst/>
              <a:gdLst/>
              <a:ahLst/>
              <a:cxnLst/>
              <a:rect l="l" t="t" r="r" b="b"/>
              <a:pathLst>
                <a:path w="46990" h="46989">
                  <a:moveTo>
                    <a:pt x="0" y="46799"/>
                  </a:moveTo>
                  <a:lnTo>
                    <a:pt x="46799" y="46799"/>
                  </a:lnTo>
                  <a:lnTo>
                    <a:pt x="46799" y="0"/>
                  </a:lnTo>
                  <a:lnTo>
                    <a:pt x="0" y="0"/>
                  </a:lnTo>
                  <a:lnTo>
                    <a:pt x="0" y="46799"/>
                  </a:lnTo>
                  <a:close/>
                </a:path>
              </a:pathLst>
            </a:custGeom>
            <a:solidFill>
              <a:srgbClr val="00A1E4"/>
            </a:solidFill>
          </p:spPr>
          <p:txBody>
            <a:bodyPr wrap="square" lIns="0" tIns="0" rIns="0" bIns="0" rtlCol="0"/>
            <a:lstStyle/>
            <a:p>
              <a:pPr defTabSz="1194198"/>
              <a:endParaRPr lang="en-GB" sz="2351" dirty="0">
                <a:solidFill>
                  <a:srgbClr val="000000"/>
                </a:solidFill>
                <a:latin typeface="MetaPlusLF"/>
              </a:endParaRPr>
            </a:p>
          </p:txBody>
        </p:sp>
        <p:sp>
          <p:nvSpPr>
            <p:cNvPr id="23" name="object 187">
              <a:extLst>
                <a:ext uri="{FF2B5EF4-FFF2-40B4-BE49-F238E27FC236}">
                  <a16:creationId xmlns:a16="http://schemas.microsoft.com/office/drawing/2014/main" id="{4622E7DD-83E0-46D8-9E53-BAFBEFA93932}"/>
                </a:ext>
              </a:extLst>
            </p:cNvPr>
            <p:cNvSpPr/>
            <p:nvPr/>
          </p:nvSpPr>
          <p:spPr>
            <a:xfrm>
              <a:off x="5043954" y="4621859"/>
              <a:ext cx="1852295" cy="216000"/>
            </a:xfrm>
            <a:custGeom>
              <a:avLst/>
              <a:gdLst/>
              <a:ahLst/>
              <a:cxnLst/>
              <a:rect l="l" t="t" r="r" b="b"/>
              <a:pathLst>
                <a:path w="1852295" h="102235">
                  <a:moveTo>
                    <a:pt x="1793684" y="0"/>
                  </a:moveTo>
                  <a:lnTo>
                    <a:pt x="0" y="0"/>
                  </a:lnTo>
                  <a:lnTo>
                    <a:pt x="0" y="102158"/>
                  </a:lnTo>
                  <a:lnTo>
                    <a:pt x="1793684" y="102158"/>
                  </a:lnTo>
                  <a:lnTo>
                    <a:pt x="1851825" y="51079"/>
                  </a:lnTo>
                  <a:lnTo>
                    <a:pt x="1793684" y="0"/>
                  </a:lnTo>
                  <a:close/>
                </a:path>
              </a:pathLst>
            </a:custGeom>
            <a:solidFill>
              <a:srgbClr val="FFF200"/>
            </a:solidFill>
          </p:spPr>
          <p:txBody>
            <a:bodyPr wrap="square" lIns="0" tIns="0" rIns="0" bIns="0" rtlCol="0"/>
            <a:lstStyle/>
            <a:p>
              <a:pPr defTabSz="1194198"/>
              <a:endParaRPr lang="en-GB" sz="2398" dirty="0">
                <a:solidFill>
                  <a:srgbClr val="000000"/>
                </a:solidFill>
                <a:latin typeface="MetaPlusLF"/>
              </a:endParaRPr>
            </a:p>
          </p:txBody>
        </p:sp>
        <p:sp>
          <p:nvSpPr>
            <p:cNvPr id="24" name="object 188">
              <a:extLst>
                <a:ext uri="{FF2B5EF4-FFF2-40B4-BE49-F238E27FC236}">
                  <a16:creationId xmlns:a16="http://schemas.microsoft.com/office/drawing/2014/main" id="{40E7E9E9-9637-499D-AF6C-5365CC691FAA}"/>
                </a:ext>
              </a:extLst>
            </p:cNvPr>
            <p:cNvSpPr txBox="1"/>
            <p:nvPr/>
          </p:nvSpPr>
          <p:spPr>
            <a:xfrm>
              <a:off x="5158327" y="4631114"/>
              <a:ext cx="1624248" cy="201017"/>
            </a:xfrm>
            <a:prstGeom prst="rect">
              <a:avLst/>
            </a:prstGeom>
          </p:spPr>
          <p:txBody>
            <a:bodyPr vert="horz" wrap="square" lIns="0" tIns="12687" rIns="0" bIns="0" rtlCol="0">
              <a:spAutoFit/>
            </a:bodyPr>
            <a:lstStyle/>
            <a:p>
              <a:pPr marL="12687" defTabSz="1194198">
                <a:spcBef>
                  <a:spcPts val="100"/>
                </a:spcBef>
              </a:pPr>
              <a:r>
                <a:rPr lang="en-GB" sz="1199" b="1" spc="-5">
                  <a:solidFill>
                    <a:srgbClr val="231F20"/>
                  </a:solidFill>
                  <a:latin typeface="MetaPlusLF"/>
                  <a:cs typeface="MetaPlusLF"/>
                </a:rPr>
                <a:t>Safe electric zone</a:t>
              </a:r>
              <a:endParaRPr lang="en-GB" sz="1199" dirty="0">
                <a:solidFill>
                  <a:srgbClr val="000000"/>
                </a:solidFill>
                <a:latin typeface="MetaPlusLF"/>
                <a:cs typeface="MetaPlusLF"/>
              </a:endParaRPr>
            </a:p>
          </p:txBody>
        </p:sp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DF4BAD3-45DF-457E-AC13-64E09C9F76B4}"/>
              </a:ext>
            </a:extLst>
          </p:cNvPr>
          <p:cNvGrpSpPr/>
          <p:nvPr/>
        </p:nvGrpSpPr>
        <p:grpSpPr>
          <a:xfrm>
            <a:off x="5304087" y="4378661"/>
            <a:ext cx="2661172" cy="232189"/>
            <a:chOff x="5697802" y="3570960"/>
            <a:chExt cx="2664000" cy="232436"/>
          </a:xfrm>
        </p:grpSpPr>
        <p:sp>
          <p:nvSpPr>
            <p:cNvPr id="25" name="object 189">
              <a:extLst>
                <a:ext uri="{FF2B5EF4-FFF2-40B4-BE49-F238E27FC236}">
                  <a16:creationId xmlns:a16="http://schemas.microsoft.com/office/drawing/2014/main" id="{2D915F37-82B5-45AD-B535-DCF2446EAADD}"/>
                </a:ext>
              </a:extLst>
            </p:cNvPr>
            <p:cNvSpPr/>
            <p:nvPr/>
          </p:nvSpPr>
          <p:spPr>
            <a:xfrm>
              <a:off x="5697802" y="3577094"/>
              <a:ext cx="2664000" cy="216000"/>
            </a:xfrm>
            <a:custGeom>
              <a:avLst/>
              <a:gdLst/>
              <a:ahLst/>
              <a:cxnLst/>
              <a:rect l="l" t="t" r="r" b="b"/>
              <a:pathLst>
                <a:path w="2668904" h="102235">
                  <a:moveTo>
                    <a:pt x="2610358" y="0"/>
                  </a:moveTo>
                  <a:lnTo>
                    <a:pt x="0" y="0"/>
                  </a:lnTo>
                  <a:lnTo>
                    <a:pt x="0" y="102158"/>
                  </a:lnTo>
                  <a:lnTo>
                    <a:pt x="2610358" y="102158"/>
                  </a:lnTo>
                  <a:lnTo>
                    <a:pt x="2668498" y="51079"/>
                  </a:lnTo>
                  <a:lnTo>
                    <a:pt x="2610358" y="0"/>
                  </a:lnTo>
                  <a:close/>
                </a:path>
              </a:pathLst>
            </a:custGeom>
            <a:solidFill>
              <a:srgbClr val="B9E0F7"/>
            </a:solidFill>
          </p:spPr>
          <p:txBody>
            <a:bodyPr wrap="square" lIns="0" tIns="0" rIns="0" bIns="0" rtlCol="0"/>
            <a:lstStyle/>
            <a:p>
              <a:pPr defTabSz="1194198"/>
              <a:endParaRPr lang="en-GB" sz="2351" dirty="0">
                <a:solidFill>
                  <a:srgbClr val="000000"/>
                </a:solidFill>
                <a:latin typeface="MetaPlusLF"/>
              </a:endParaRPr>
            </a:p>
          </p:txBody>
        </p:sp>
        <p:sp>
          <p:nvSpPr>
            <p:cNvPr id="26" name="object 190">
              <a:extLst>
                <a:ext uri="{FF2B5EF4-FFF2-40B4-BE49-F238E27FC236}">
                  <a16:creationId xmlns:a16="http://schemas.microsoft.com/office/drawing/2014/main" id="{DE904CA6-C423-4684-BB73-8E6AF82B2EFD}"/>
                </a:ext>
              </a:extLst>
            </p:cNvPr>
            <p:cNvSpPr txBox="1"/>
            <p:nvPr/>
          </p:nvSpPr>
          <p:spPr>
            <a:xfrm>
              <a:off x="6011354" y="3570960"/>
              <a:ext cx="1852294" cy="232436"/>
            </a:xfrm>
            <a:prstGeom prst="rect">
              <a:avLst/>
            </a:prstGeom>
          </p:spPr>
          <p:txBody>
            <a:bodyPr vert="horz" wrap="square" lIns="0" tIns="12687" rIns="0" bIns="0" rtlCol="0">
              <a:spAutoFit/>
            </a:bodyPr>
            <a:lstStyle/>
            <a:p>
              <a:pPr marL="12687" algn="ctr" defTabSz="1194198">
                <a:spcBef>
                  <a:spcPts val="100"/>
                </a:spcBef>
              </a:pPr>
              <a:r>
                <a:rPr lang="en-GB" sz="1399" b="1" spc="-5">
                  <a:solidFill>
                    <a:srgbClr val="231F20"/>
                  </a:solidFill>
                  <a:latin typeface="MetaPlusLF"/>
                  <a:cs typeface="MetaPlusLF"/>
                </a:rPr>
                <a:t>Safe pilot air</a:t>
              </a:r>
              <a:endParaRPr lang="en-GB" sz="1399" dirty="0">
                <a:solidFill>
                  <a:srgbClr val="000000"/>
                </a:solidFill>
                <a:latin typeface="MetaPlusLF"/>
                <a:cs typeface="MetaPlusLF"/>
              </a:endParaRPr>
            </a:p>
          </p:txBody>
        </p:sp>
      </p:grp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63395129-466E-482D-BA4B-7E41FCC79313}"/>
              </a:ext>
            </a:extLst>
          </p:cNvPr>
          <p:cNvGrpSpPr/>
          <p:nvPr/>
        </p:nvGrpSpPr>
        <p:grpSpPr>
          <a:xfrm>
            <a:off x="6981382" y="5050554"/>
            <a:ext cx="1041574" cy="215770"/>
            <a:chOff x="7315939" y="4621859"/>
            <a:chExt cx="1042681" cy="216000"/>
          </a:xfrm>
        </p:grpSpPr>
        <p:sp>
          <p:nvSpPr>
            <p:cNvPr id="17" name="object 176">
              <a:extLst>
                <a:ext uri="{FF2B5EF4-FFF2-40B4-BE49-F238E27FC236}">
                  <a16:creationId xmlns:a16="http://schemas.microsoft.com/office/drawing/2014/main" id="{BB7E19BB-31BA-4CA8-80BF-73BC48A8AE73}"/>
                </a:ext>
              </a:extLst>
            </p:cNvPr>
            <p:cNvSpPr/>
            <p:nvPr/>
          </p:nvSpPr>
          <p:spPr>
            <a:xfrm>
              <a:off x="7930057" y="4706364"/>
              <a:ext cx="46990" cy="46990"/>
            </a:xfrm>
            <a:custGeom>
              <a:avLst/>
              <a:gdLst/>
              <a:ahLst/>
              <a:cxnLst/>
              <a:rect l="l" t="t" r="r" b="b"/>
              <a:pathLst>
                <a:path w="46990" h="46989">
                  <a:moveTo>
                    <a:pt x="0" y="46799"/>
                  </a:moveTo>
                  <a:lnTo>
                    <a:pt x="46799" y="46799"/>
                  </a:lnTo>
                  <a:lnTo>
                    <a:pt x="46799" y="0"/>
                  </a:lnTo>
                  <a:lnTo>
                    <a:pt x="0" y="0"/>
                  </a:lnTo>
                  <a:lnTo>
                    <a:pt x="0" y="46799"/>
                  </a:lnTo>
                  <a:close/>
                </a:path>
              </a:pathLst>
            </a:custGeom>
            <a:solidFill>
              <a:srgbClr val="00A1E4"/>
            </a:solidFill>
          </p:spPr>
          <p:txBody>
            <a:bodyPr wrap="square" lIns="0" tIns="0" rIns="0" bIns="0" rtlCol="0"/>
            <a:lstStyle/>
            <a:p>
              <a:pPr defTabSz="1194198"/>
              <a:endParaRPr lang="en-GB" sz="2351" dirty="0">
                <a:solidFill>
                  <a:srgbClr val="000000"/>
                </a:solidFill>
                <a:latin typeface="MetaPlusLF"/>
              </a:endParaRPr>
            </a:p>
          </p:txBody>
        </p:sp>
        <p:sp>
          <p:nvSpPr>
            <p:cNvPr id="27" name="object 191">
              <a:extLst>
                <a:ext uri="{FF2B5EF4-FFF2-40B4-BE49-F238E27FC236}">
                  <a16:creationId xmlns:a16="http://schemas.microsoft.com/office/drawing/2014/main" id="{744061AF-DE8C-4CF2-A306-8FF96CE79859}"/>
                </a:ext>
              </a:extLst>
            </p:cNvPr>
            <p:cNvSpPr/>
            <p:nvPr/>
          </p:nvSpPr>
          <p:spPr>
            <a:xfrm>
              <a:off x="7315939" y="4621859"/>
              <a:ext cx="989965" cy="216000"/>
            </a:xfrm>
            <a:custGeom>
              <a:avLst/>
              <a:gdLst/>
              <a:ahLst/>
              <a:cxnLst/>
              <a:rect l="l" t="t" r="r" b="b"/>
              <a:pathLst>
                <a:path w="989965" h="102235">
                  <a:moveTo>
                    <a:pt x="931278" y="0"/>
                  </a:moveTo>
                  <a:lnTo>
                    <a:pt x="0" y="0"/>
                  </a:lnTo>
                  <a:lnTo>
                    <a:pt x="0" y="102158"/>
                  </a:lnTo>
                  <a:lnTo>
                    <a:pt x="931278" y="102158"/>
                  </a:lnTo>
                  <a:lnTo>
                    <a:pt x="989418" y="51079"/>
                  </a:lnTo>
                  <a:lnTo>
                    <a:pt x="931278" y="0"/>
                  </a:lnTo>
                  <a:close/>
                </a:path>
              </a:pathLst>
            </a:custGeom>
            <a:solidFill>
              <a:srgbClr val="FFF200"/>
            </a:solidFill>
          </p:spPr>
          <p:txBody>
            <a:bodyPr wrap="square" lIns="0" tIns="0" rIns="0" bIns="0" rtlCol="0"/>
            <a:lstStyle/>
            <a:p>
              <a:pPr defTabSz="1194198"/>
              <a:endParaRPr lang="en-GB" sz="2351" dirty="0">
                <a:solidFill>
                  <a:srgbClr val="000000"/>
                </a:solidFill>
                <a:latin typeface="MetaPlusLF"/>
              </a:endParaRPr>
            </a:p>
          </p:txBody>
        </p:sp>
        <p:sp>
          <p:nvSpPr>
            <p:cNvPr id="28" name="object 192">
              <a:extLst>
                <a:ext uri="{FF2B5EF4-FFF2-40B4-BE49-F238E27FC236}">
                  <a16:creationId xmlns:a16="http://schemas.microsoft.com/office/drawing/2014/main" id="{DE896E90-BD95-403E-AD1F-20EBDE658DBE}"/>
                </a:ext>
              </a:extLst>
            </p:cNvPr>
            <p:cNvSpPr txBox="1"/>
            <p:nvPr/>
          </p:nvSpPr>
          <p:spPr>
            <a:xfrm>
              <a:off x="7368655" y="4631114"/>
              <a:ext cx="989965" cy="201017"/>
            </a:xfrm>
            <a:prstGeom prst="rect">
              <a:avLst/>
            </a:prstGeom>
          </p:spPr>
          <p:txBody>
            <a:bodyPr vert="horz" wrap="square" lIns="0" tIns="12687" rIns="0" bIns="0" rtlCol="0">
              <a:spAutoFit/>
            </a:bodyPr>
            <a:lstStyle/>
            <a:p>
              <a:pPr marL="12687" defTabSz="1194198">
                <a:spcBef>
                  <a:spcPts val="100"/>
                </a:spcBef>
              </a:pPr>
              <a:r>
                <a:rPr lang="en-GB" sz="1199" b="1" spc="-5">
                  <a:solidFill>
                    <a:srgbClr val="231F20"/>
                  </a:solidFill>
                  <a:latin typeface="MetaPlusLF"/>
                  <a:cs typeface="MetaPlusLF"/>
                </a:rPr>
                <a:t>Safe el. zone</a:t>
              </a:r>
              <a:endParaRPr lang="en-GB" sz="1199" dirty="0">
                <a:solidFill>
                  <a:srgbClr val="000000"/>
                </a:solidFill>
                <a:latin typeface="MetaPlusLF"/>
                <a:cs typeface="MetaPlusLF"/>
              </a:endParaRPr>
            </a:p>
          </p:txBody>
        </p:sp>
      </p:grp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BD49201C-D0DD-4336-9B19-A523426FE6FA}"/>
              </a:ext>
            </a:extLst>
          </p:cNvPr>
          <p:cNvGrpSpPr/>
          <p:nvPr/>
        </p:nvGrpSpPr>
        <p:grpSpPr>
          <a:xfrm>
            <a:off x="4885185" y="4711672"/>
            <a:ext cx="3078526" cy="232189"/>
            <a:chOff x="5399286" y="3759058"/>
            <a:chExt cx="2952000" cy="232436"/>
          </a:xfrm>
        </p:grpSpPr>
        <p:sp>
          <p:nvSpPr>
            <p:cNvPr id="29" name="object 193">
              <a:extLst>
                <a:ext uri="{FF2B5EF4-FFF2-40B4-BE49-F238E27FC236}">
                  <a16:creationId xmlns:a16="http://schemas.microsoft.com/office/drawing/2014/main" id="{46448732-BF80-4C19-8211-E4E24C39FA6E}"/>
                </a:ext>
              </a:extLst>
            </p:cNvPr>
            <p:cNvSpPr/>
            <p:nvPr/>
          </p:nvSpPr>
          <p:spPr>
            <a:xfrm>
              <a:off x="5399286" y="3765192"/>
              <a:ext cx="2952000" cy="216000"/>
            </a:xfrm>
            <a:custGeom>
              <a:avLst/>
              <a:gdLst/>
              <a:ahLst/>
              <a:cxnLst/>
              <a:rect l="l" t="t" r="r" b="b"/>
              <a:pathLst>
                <a:path w="2841625" h="102235">
                  <a:moveTo>
                    <a:pt x="2783141" y="0"/>
                  </a:moveTo>
                  <a:lnTo>
                    <a:pt x="0" y="0"/>
                  </a:lnTo>
                  <a:lnTo>
                    <a:pt x="0" y="102158"/>
                  </a:lnTo>
                  <a:lnTo>
                    <a:pt x="2783141" y="102158"/>
                  </a:lnTo>
                  <a:lnTo>
                    <a:pt x="2841269" y="51079"/>
                  </a:lnTo>
                  <a:lnTo>
                    <a:pt x="2783141" y="0"/>
                  </a:lnTo>
                  <a:close/>
                </a:path>
              </a:pathLst>
            </a:custGeom>
            <a:solidFill>
              <a:srgbClr val="00A1E4"/>
            </a:solidFill>
          </p:spPr>
          <p:txBody>
            <a:bodyPr wrap="square" lIns="0" tIns="0" rIns="0" bIns="0" rtlCol="0"/>
            <a:lstStyle/>
            <a:p>
              <a:pPr defTabSz="1194198"/>
              <a:endParaRPr lang="en-GB" sz="2351" dirty="0">
                <a:solidFill>
                  <a:srgbClr val="000000"/>
                </a:solidFill>
                <a:latin typeface="MetaPlusLF"/>
              </a:endParaRPr>
            </a:p>
          </p:txBody>
        </p:sp>
        <p:sp>
          <p:nvSpPr>
            <p:cNvPr id="30" name="object 194">
              <a:extLst>
                <a:ext uri="{FF2B5EF4-FFF2-40B4-BE49-F238E27FC236}">
                  <a16:creationId xmlns:a16="http://schemas.microsoft.com/office/drawing/2014/main" id="{0FD2F61B-39C3-49FA-8695-3A8297D0A3AA}"/>
                </a:ext>
              </a:extLst>
            </p:cNvPr>
            <p:cNvSpPr txBox="1"/>
            <p:nvPr/>
          </p:nvSpPr>
          <p:spPr>
            <a:xfrm>
              <a:off x="5975350" y="3759058"/>
              <a:ext cx="1935174" cy="232436"/>
            </a:xfrm>
            <a:prstGeom prst="rect">
              <a:avLst/>
            </a:prstGeom>
          </p:spPr>
          <p:txBody>
            <a:bodyPr vert="horz" wrap="square" lIns="0" tIns="12687" rIns="0" bIns="0" rtlCol="0">
              <a:spAutoFit/>
            </a:bodyPr>
            <a:lstStyle/>
            <a:p>
              <a:pPr marL="12687" defTabSz="1194198">
                <a:spcBef>
                  <a:spcPts val="100"/>
                </a:spcBef>
              </a:pPr>
              <a:r>
                <a:rPr lang="en-GB" sz="1399" b="1" spc="-5">
                  <a:solidFill>
                    <a:srgbClr val="231F20"/>
                  </a:solidFill>
                  <a:latin typeface="MetaPlusLF"/>
                  <a:cs typeface="MetaPlusLF"/>
                </a:rPr>
                <a:t>Safe pneumatic supply air</a:t>
              </a:r>
              <a:endParaRPr lang="en-GB" sz="1399" dirty="0">
                <a:solidFill>
                  <a:srgbClr val="000000"/>
                </a:solidFill>
                <a:latin typeface="MetaPlusLF"/>
                <a:cs typeface="MetaPlusLF"/>
              </a:endParaRPr>
            </a:p>
          </p:txBody>
        </p:sp>
      </p:grpSp>
      <p:sp>
        <p:nvSpPr>
          <p:cNvPr id="40" name="Textfeld 39">
            <a:extLst>
              <a:ext uri="{FF2B5EF4-FFF2-40B4-BE49-F238E27FC236}">
                <a16:creationId xmlns:a16="http://schemas.microsoft.com/office/drawing/2014/main" id="{B6AC3BFD-CDCD-4538-9942-BA9446E479A8}"/>
              </a:ext>
            </a:extLst>
          </p:cNvPr>
          <p:cNvSpPr txBox="1"/>
          <p:nvPr/>
        </p:nvSpPr>
        <p:spPr>
          <a:xfrm>
            <a:off x="148895" y="2073881"/>
            <a:ext cx="4177355" cy="156223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marL="179608" indent="-179608" defTabSz="1194198">
              <a:spcAft>
                <a:spcPts val="599"/>
              </a:spcAft>
              <a:buFont typeface="Arial" pitchFamily="34" charset="0"/>
              <a:buChar char="•"/>
              <a:defRPr/>
            </a:pPr>
            <a:r>
              <a:rPr lang="en-GB" sz="1399">
                <a:solidFill>
                  <a:srgbClr val="000000"/>
                </a:solidFill>
                <a:latin typeface="MetaPlusLF"/>
              </a:rPr>
              <a:t>New pneumatic interfaces, optional with safety</a:t>
            </a:r>
          </a:p>
          <a:p>
            <a:pPr marL="179608" indent="-179608" defTabSz="1194198">
              <a:spcAft>
                <a:spcPts val="599"/>
              </a:spcAft>
              <a:buFont typeface="Arial" pitchFamily="34" charset="0"/>
              <a:buChar char="•"/>
              <a:defRPr/>
            </a:pPr>
            <a:r>
              <a:rPr lang="en-GB" sz="1399">
                <a:solidFill>
                  <a:srgbClr val="000000"/>
                </a:solidFill>
                <a:latin typeface="MetaPlusLF"/>
              </a:rPr>
              <a:t>Up to 3 Safety-Shutdown-Groups possible</a:t>
            </a:r>
            <a:br>
              <a:rPr lang="en-GB" sz="1399">
                <a:solidFill>
                  <a:srgbClr val="000000"/>
                </a:solidFill>
                <a:latin typeface="MetaPlusLF"/>
              </a:rPr>
            </a:br>
            <a:r>
              <a:rPr lang="en-GB" sz="1399">
                <a:solidFill>
                  <a:srgbClr val="000000"/>
                </a:solidFill>
                <a:latin typeface="MetaPlusLF"/>
              </a:rPr>
              <a:t>with CPX interface:</a:t>
            </a:r>
            <a:br>
              <a:rPr lang="en-GB" sz="1399">
                <a:solidFill>
                  <a:srgbClr val="000000"/>
                </a:solidFill>
                <a:latin typeface="MetaPlusLF"/>
              </a:rPr>
            </a:br>
            <a:r>
              <a:rPr lang="en-GB" sz="1399">
                <a:solidFill>
                  <a:srgbClr val="000000"/>
                </a:solidFill>
                <a:latin typeface="MetaPlusLF"/>
              </a:rPr>
              <a:t>3xM12 (external)</a:t>
            </a:r>
          </a:p>
          <a:p>
            <a:pPr marL="179608" indent="-179608" defTabSz="1194198">
              <a:spcAft>
                <a:spcPts val="599"/>
              </a:spcAft>
              <a:buFont typeface="Arial" pitchFamily="34" charset="0"/>
              <a:buChar char="•"/>
              <a:defRPr/>
            </a:pPr>
            <a:r>
              <a:rPr lang="en-GB" sz="1399">
                <a:solidFill>
                  <a:srgbClr val="000000"/>
                </a:solidFill>
                <a:latin typeface="MetaPlusLF"/>
              </a:rPr>
              <a:t>Realization of integrated control functions and flexible Safety-Shutdown-Groups, up to PL d cat. 3</a:t>
            </a:r>
            <a:endParaRPr lang="en-GB" sz="1399" dirty="0">
              <a:solidFill>
                <a:srgbClr val="000000"/>
              </a:solidFill>
              <a:latin typeface="MetaPlusLF"/>
            </a:endParaRP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F94A4E97-660E-4355-BF56-8AF7492B7BE4}"/>
              </a:ext>
            </a:extLst>
          </p:cNvPr>
          <p:cNvSpPr txBox="1"/>
          <p:nvPr/>
        </p:nvSpPr>
        <p:spPr>
          <a:xfrm>
            <a:off x="5617307" y="1827070"/>
            <a:ext cx="4338776" cy="53099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defTabSz="1194198"/>
            <a:r>
              <a:rPr lang="en-GB" sz="1399">
                <a:solidFill>
                  <a:srgbClr val="000000"/>
                </a:solidFill>
                <a:latin typeface="MetaPlusLF"/>
              </a:rPr>
              <a:t>Soft-start valve with integrated pressure switch allows diagnosis of exhaust condition</a:t>
            </a:r>
            <a:endParaRPr lang="en-GB" sz="1399" dirty="0">
              <a:solidFill>
                <a:srgbClr val="000000"/>
              </a:solidFill>
              <a:latin typeface="MetaPlusLF"/>
            </a:endParaRP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DFF919B8-14B7-4865-83B5-E0C1C437F24B}"/>
              </a:ext>
            </a:extLst>
          </p:cNvPr>
          <p:cNvSpPr txBox="1"/>
          <p:nvPr/>
        </p:nvSpPr>
        <p:spPr>
          <a:xfrm>
            <a:off x="6409576" y="2589701"/>
            <a:ext cx="4238132" cy="31161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defTabSz="1194198"/>
            <a:r>
              <a:rPr lang="en-GB" sz="1399">
                <a:solidFill>
                  <a:srgbClr val="000000"/>
                </a:solidFill>
                <a:latin typeface="MetaPlusLF"/>
              </a:rPr>
              <a:t>Pilot air control valve with integrated pressure switch</a:t>
            </a:r>
            <a:endParaRPr lang="en-GB" sz="1399" dirty="0">
              <a:solidFill>
                <a:srgbClr val="000000"/>
              </a:solidFill>
              <a:latin typeface="MetaPlusLF"/>
            </a:endParaRPr>
          </a:p>
        </p:txBody>
      </p: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0BDA7C4F-621A-4181-9C24-25F78D3A1121}"/>
              </a:ext>
            </a:extLst>
          </p:cNvPr>
          <p:cNvGrpSpPr/>
          <p:nvPr/>
        </p:nvGrpSpPr>
        <p:grpSpPr>
          <a:xfrm>
            <a:off x="4326251" y="2878008"/>
            <a:ext cx="246435" cy="1148701"/>
            <a:chOff x="3491074" y="2335657"/>
            <a:chExt cx="1080120" cy="540060"/>
          </a:xfrm>
        </p:grpSpPr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9281397F-E2AB-4E43-8B8B-5EC9A5A8C209}"/>
                </a:ext>
              </a:extLst>
            </p:cNvPr>
            <p:cNvCxnSpPr/>
            <p:nvPr/>
          </p:nvCxnSpPr>
          <p:spPr>
            <a:xfrm>
              <a:off x="3491074" y="2335657"/>
              <a:ext cx="1080120" cy="0"/>
            </a:xfrm>
            <a:prstGeom prst="line">
              <a:avLst/>
            </a:prstGeom>
            <a:ln w="158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r Verbinder 44">
              <a:extLst>
                <a:ext uri="{FF2B5EF4-FFF2-40B4-BE49-F238E27FC236}">
                  <a16:creationId xmlns:a16="http://schemas.microsoft.com/office/drawing/2014/main" id="{76DFD73A-9241-4530-9B9A-A8A0C43D6743}"/>
                </a:ext>
              </a:extLst>
            </p:cNvPr>
            <p:cNvCxnSpPr/>
            <p:nvPr/>
          </p:nvCxnSpPr>
          <p:spPr>
            <a:xfrm>
              <a:off x="4571194" y="2335657"/>
              <a:ext cx="0" cy="540060"/>
            </a:xfrm>
            <a:prstGeom prst="line">
              <a:avLst/>
            </a:prstGeom>
            <a:ln w="15875">
              <a:solidFill>
                <a:schemeClr val="accent6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8703DE7E-CB0F-4762-8E39-5884112FBA2C}"/>
              </a:ext>
            </a:extLst>
          </p:cNvPr>
          <p:cNvGrpSpPr/>
          <p:nvPr/>
        </p:nvGrpSpPr>
        <p:grpSpPr>
          <a:xfrm flipH="1">
            <a:off x="5161561" y="2749320"/>
            <a:ext cx="1256634" cy="1338765"/>
            <a:chOff x="3491074" y="2335657"/>
            <a:chExt cx="1080120" cy="540060"/>
          </a:xfrm>
        </p:grpSpPr>
        <p:cxnSp>
          <p:nvCxnSpPr>
            <p:cNvPr id="49" name="Gerader Verbinder 48">
              <a:extLst>
                <a:ext uri="{FF2B5EF4-FFF2-40B4-BE49-F238E27FC236}">
                  <a16:creationId xmlns:a16="http://schemas.microsoft.com/office/drawing/2014/main" id="{E22FC008-E1AA-414C-8FAB-0DFB338DEF1F}"/>
                </a:ext>
              </a:extLst>
            </p:cNvPr>
            <p:cNvCxnSpPr/>
            <p:nvPr/>
          </p:nvCxnSpPr>
          <p:spPr>
            <a:xfrm>
              <a:off x="3491074" y="2335657"/>
              <a:ext cx="1080120" cy="0"/>
            </a:xfrm>
            <a:prstGeom prst="line">
              <a:avLst/>
            </a:prstGeom>
            <a:ln w="158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r Verbinder 49">
              <a:extLst>
                <a:ext uri="{FF2B5EF4-FFF2-40B4-BE49-F238E27FC236}">
                  <a16:creationId xmlns:a16="http://schemas.microsoft.com/office/drawing/2014/main" id="{4C0CF4CC-42F0-4E8D-882C-E3D477DB12FA}"/>
                </a:ext>
              </a:extLst>
            </p:cNvPr>
            <p:cNvCxnSpPr/>
            <p:nvPr/>
          </p:nvCxnSpPr>
          <p:spPr>
            <a:xfrm>
              <a:off x="4571194" y="2335657"/>
              <a:ext cx="0" cy="540060"/>
            </a:xfrm>
            <a:prstGeom prst="line">
              <a:avLst/>
            </a:prstGeom>
            <a:ln w="15875">
              <a:solidFill>
                <a:schemeClr val="accent6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58CC934E-ECD2-4D89-8C2B-9D52363536B7}"/>
              </a:ext>
            </a:extLst>
          </p:cNvPr>
          <p:cNvGrpSpPr/>
          <p:nvPr/>
        </p:nvGrpSpPr>
        <p:grpSpPr>
          <a:xfrm flipH="1">
            <a:off x="4885182" y="2006120"/>
            <a:ext cx="728097" cy="1960350"/>
            <a:chOff x="3491074" y="2335657"/>
            <a:chExt cx="1080120" cy="540060"/>
          </a:xfrm>
        </p:grpSpPr>
        <p:cxnSp>
          <p:nvCxnSpPr>
            <p:cNvPr id="52" name="Gerader Verbinder 51">
              <a:extLst>
                <a:ext uri="{FF2B5EF4-FFF2-40B4-BE49-F238E27FC236}">
                  <a16:creationId xmlns:a16="http://schemas.microsoft.com/office/drawing/2014/main" id="{B1DD3063-460C-4843-AC8D-8F8C46403D59}"/>
                </a:ext>
              </a:extLst>
            </p:cNvPr>
            <p:cNvCxnSpPr/>
            <p:nvPr/>
          </p:nvCxnSpPr>
          <p:spPr>
            <a:xfrm>
              <a:off x="3491074" y="2335657"/>
              <a:ext cx="1080120" cy="0"/>
            </a:xfrm>
            <a:prstGeom prst="line">
              <a:avLst/>
            </a:prstGeom>
            <a:ln w="158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r Verbinder 53">
              <a:extLst>
                <a:ext uri="{FF2B5EF4-FFF2-40B4-BE49-F238E27FC236}">
                  <a16:creationId xmlns:a16="http://schemas.microsoft.com/office/drawing/2014/main" id="{3A7C95BC-09B0-4CDE-8158-3BDA83C80380}"/>
                </a:ext>
              </a:extLst>
            </p:cNvPr>
            <p:cNvCxnSpPr/>
            <p:nvPr/>
          </p:nvCxnSpPr>
          <p:spPr>
            <a:xfrm>
              <a:off x="4571194" y="2335657"/>
              <a:ext cx="0" cy="540060"/>
            </a:xfrm>
            <a:prstGeom prst="line">
              <a:avLst/>
            </a:prstGeom>
            <a:ln w="15875">
              <a:solidFill>
                <a:schemeClr val="accent6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ttangolo 22">
            <a:extLst>
              <a:ext uri="{FF2B5EF4-FFF2-40B4-BE49-F238E27FC236}">
                <a16:creationId xmlns:a16="http://schemas.microsoft.com/office/drawing/2014/main" id="{1CE86DB4-9BDC-4CBD-9674-235472C7F373}"/>
              </a:ext>
            </a:extLst>
          </p:cNvPr>
          <p:cNvSpPr/>
          <p:nvPr/>
        </p:nvSpPr>
        <p:spPr>
          <a:xfrm>
            <a:off x="6103465" y="3063700"/>
            <a:ext cx="4567653" cy="695196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179608" indent="-179608" defTabSz="1194198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en-GB" sz="1399">
                <a:solidFill>
                  <a:srgbClr val="000000"/>
                </a:solidFill>
                <a:latin typeface="MetaPlusLF"/>
              </a:rPr>
              <a:t>Up to 4 voltage zones possible in pneumatic part</a:t>
            </a:r>
          </a:p>
          <a:p>
            <a:pPr marL="179608" indent="-179608" defTabSz="1194198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en-GB" sz="1399">
                <a:solidFill>
                  <a:srgbClr val="000000"/>
                </a:solidFill>
                <a:latin typeface="MetaPlusLF"/>
              </a:rPr>
              <a:t>Serial communication in pneumatic part, up to 96 valves</a:t>
            </a:r>
            <a:endParaRPr lang="en-GB" sz="1399" dirty="0">
              <a:solidFill>
                <a:srgbClr val="000000"/>
              </a:solidFill>
              <a:latin typeface="MetaPlusLF"/>
            </a:endParaRPr>
          </a:p>
        </p:txBody>
      </p: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8673BE38-AC4A-4ECB-ACBE-14F807AB75C6}"/>
              </a:ext>
            </a:extLst>
          </p:cNvPr>
          <p:cNvGrpSpPr/>
          <p:nvPr/>
        </p:nvGrpSpPr>
        <p:grpSpPr>
          <a:xfrm flipH="1">
            <a:off x="5720493" y="3313656"/>
            <a:ext cx="382969" cy="902747"/>
            <a:chOff x="3491074" y="2335657"/>
            <a:chExt cx="1080120" cy="540060"/>
          </a:xfrm>
        </p:grpSpPr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42B38DA0-7A77-48EF-81CC-1D5338238BF2}"/>
                </a:ext>
              </a:extLst>
            </p:cNvPr>
            <p:cNvCxnSpPr/>
            <p:nvPr/>
          </p:nvCxnSpPr>
          <p:spPr>
            <a:xfrm>
              <a:off x="3491074" y="2335657"/>
              <a:ext cx="1080120" cy="0"/>
            </a:xfrm>
            <a:prstGeom prst="line">
              <a:avLst/>
            </a:prstGeom>
            <a:ln w="158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>
              <a:extLst>
                <a:ext uri="{FF2B5EF4-FFF2-40B4-BE49-F238E27FC236}">
                  <a16:creationId xmlns:a16="http://schemas.microsoft.com/office/drawing/2014/main" id="{79EE6109-0A5F-4F83-8155-EA64B9C1716B}"/>
                </a:ext>
              </a:extLst>
            </p:cNvPr>
            <p:cNvCxnSpPr/>
            <p:nvPr/>
          </p:nvCxnSpPr>
          <p:spPr>
            <a:xfrm>
              <a:off x="4571194" y="2335657"/>
              <a:ext cx="0" cy="540060"/>
            </a:xfrm>
            <a:prstGeom prst="line">
              <a:avLst/>
            </a:prstGeom>
            <a:ln w="15875">
              <a:solidFill>
                <a:schemeClr val="accent6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" name="Grafik 1">
            <a:extLst>
              <a:ext uri="{FF2B5EF4-FFF2-40B4-BE49-F238E27FC236}">
                <a16:creationId xmlns:a16="http://schemas.microsoft.com/office/drawing/2014/main" id="{21258431-3532-4303-AA0A-8BFF15E1565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009575" y="3926879"/>
            <a:ext cx="1520587" cy="1995770"/>
          </a:xfrm>
          <a:prstGeom prst="rect">
            <a:avLst/>
          </a:prstGeom>
        </p:spPr>
      </p:pic>
      <p:sp>
        <p:nvSpPr>
          <p:cNvPr id="39" name="Rettangolo 4">
            <a:extLst>
              <a:ext uri="{FF2B5EF4-FFF2-40B4-BE49-F238E27FC236}">
                <a16:creationId xmlns:a16="http://schemas.microsoft.com/office/drawing/2014/main" id="{03EA2D4E-BAEC-4762-997A-2767572E4391}"/>
              </a:ext>
            </a:extLst>
          </p:cNvPr>
          <p:cNvSpPr/>
          <p:nvPr/>
        </p:nvSpPr>
        <p:spPr>
          <a:xfrm>
            <a:off x="8369310" y="5476184"/>
            <a:ext cx="3252742" cy="96974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182366" indent="-182366" defTabSz="1194198">
              <a:buFont typeface="Arial" panose="020B0604020202020204" pitchFamily="34" charset="0"/>
              <a:buChar char="•"/>
              <a:defRPr/>
            </a:pPr>
            <a:r>
              <a:rPr lang="en-GB" sz="1399">
                <a:solidFill>
                  <a:srgbClr val="000000"/>
                </a:solidFill>
                <a:latin typeface="MetaPlusLF"/>
              </a:rPr>
              <a:t>Vacuum ejector with air saving circuit, optional with power eject pulse</a:t>
            </a:r>
          </a:p>
          <a:p>
            <a:pPr marL="182366" indent="-182366" defTabSz="1194198">
              <a:buFont typeface="Arial" panose="020B0604020202020204" pitchFamily="34" charset="0"/>
              <a:buChar char="•"/>
              <a:defRPr/>
            </a:pPr>
            <a:r>
              <a:rPr lang="en-GB" sz="1399">
                <a:solidFill>
                  <a:srgbClr val="000000"/>
                </a:solidFill>
                <a:latin typeface="MetaPlusLF"/>
              </a:rPr>
              <a:t>integrated connection, parametrization via CPX-system</a:t>
            </a:r>
            <a:endParaRPr lang="en-GB" sz="1399" dirty="0">
              <a:solidFill>
                <a:srgbClr val="000000"/>
              </a:solidFill>
              <a:latin typeface="MetaPlusLF"/>
            </a:endParaRPr>
          </a:p>
        </p:txBody>
      </p: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7C7DCB6A-5669-4B4A-A516-E2D05705C22A}"/>
              </a:ext>
            </a:extLst>
          </p:cNvPr>
          <p:cNvGrpSpPr/>
          <p:nvPr/>
        </p:nvGrpSpPr>
        <p:grpSpPr>
          <a:xfrm rot="5400000" flipH="1">
            <a:off x="8773395" y="4293497"/>
            <a:ext cx="708812" cy="1656561"/>
            <a:chOff x="3491074" y="2335657"/>
            <a:chExt cx="1080120" cy="540060"/>
          </a:xfrm>
        </p:grpSpPr>
        <p:cxnSp>
          <p:nvCxnSpPr>
            <p:cNvPr id="47" name="Gerader Verbinder 46">
              <a:extLst>
                <a:ext uri="{FF2B5EF4-FFF2-40B4-BE49-F238E27FC236}">
                  <a16:creationId xmlns:a16="http://schemas.microsoft.com/office/drawing/2014/main" id="{1C01EB2D-5553-4F51-8FDB-840FA7670CEB}"/>
                </a:ext>
              </a:extLst>
            </p:cNvPr>
            <p:cNvCxnSpPr/>
            <p:nvPr/>
          </p:nvCxnSpPr>
          <p:spPr>
            <a:xfrm>
              <a:off x="3491074" y="2335657"/>
              <a:ext cx="1080120" cy="0"/>
            </a:xfrm>
            <a:prstGeom prst="line">
              <a:avLst/>
            </a:prstGeom>
            <a:ln w="158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r Verbinder 52">
              <a:extLst>
                <a:ext uri="{FF2B5EF4-FFF2-40B4-BE49-F238E27FC236}">
                  <a16:creationId xmlns:a16="http://schemas.microsoft.com/office/drawing/2014/main" id="{7C4AA1E6-77B9-4F9D-9DB5-676786208097}"/>
                </a:ext>
              </a:extLst>
            </p:cNvPr>
            <p:cNvCxnSpPr/>
            <p:nvPr/>
          </p:nvCxnSpPr>
          <p:spPr>
            <a:xfrm>
              <a:off x="4571194" y="2335657"/>
              <a:ext cx="0" cy="540060"/>
            </a:xfrm>
            <a:prstGeom prst="line">
              <a:avLst/>
            </a:prstGeom>
            <a:ln w="15875">
              <a:solidFill>
                <a:schemeClr val="accent6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886248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7FF8F89-2C65-4749-AD4C-E3ADF0A416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7930" y="5158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7FF8F89-2C65-4749-AD4C-E3ADF0A416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7930" y="5158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4D7E662C-01CF-4BE0-AB06-2A727A81B62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344" y="3572"/>
            <a:ext cx="158581" cy="15858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098"/>
              </a:lnSpc>
            </a:pPr>
            <a:endParaRPr lang="en-GB" sz="2098" b="1" dirty="0">
              <a:latin typeface="MetaPlusLF" panose="02000503060000020004" pitchFamily="2" charset="0"/>
              <a:ea typeface="+mj-ea"/>
              <a:cs typeface="+mj-cs"/>
              <a:sym typeface="MetaPlusLF" panose="02000503060000020004" pitchFamily="2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GB"/>
              <a:t>CPX/VTSA-F-CB: New VTSA pneumatic interfaces with FB36 (Ethernet-IP)</a:t>
            </a:r>
            <a:endParaRPr lang="en-GB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A111551F-4157-49C6-BE1D-C2D2ED2463E4}"/>
              </a:ext>
            </a:extLst>
          </p:cNvPr>
          <p:cNvSpPr txBox="1"/>
          <p:nvPr/>
        </p:nvSpPr>
        <p:spPr>
          <a:xfrm>
            <a:off x="9088465" y="4388121"/>
            <a:ext cx="2043581" cy="15987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398"/>
              <a:t>Pneumatic interface with</a:t>
            </a:r>
            <a:br>
              <a:rPr lang="en-GB" sz="1398"/>
            </a:br>
            <a:r>
              <a:rPr lang="en-GB" sz="1398"/>
              <a:t>external supply</a:t>
            </a:r>
            <a:br>
              <a:rPr lang="en-GB" sz="1398"/>
            </a:br>
            <a:r>
              <a:rPr lang="en-GB" sz="1398"/>
              <a:t>of 3 potentials (M12).</a:t>
            </a:r>
            <a:br>
              <a:rPr lang="en-GB" sz="1398"/>
            </a:br>
            <a:r>
              <a:rPr lang="en-GB" sz="1398"/>
              <a:t>Incl. output driver</a:t>
            </a:r>
            <a:br>
              <a:rPr lang="en-GB" sz="1398"/>
            </a:br>
            <a:r>
              <a:rPr lang="en-GB" sz="1398"/>
              <a:t>for 24 coils.</a:t>
            </a:r>
            <a:br>
              <a:rPr lang="en-GB" sz="1398"/>
            </a:br>
            <a:r>
              <a:rPr lang="en-GB" sz="1398"/>
              <a:t>diagnosis via</a:t>
            </a:r>
            <a:br>
              <a:rPr lang="en-GB" sz="1398"/>
            </a:br>
            <a:r>
              <a:rPr lang="en-GB" sz="1398"/>
              <a:t>IO tags</a:t>
            </a:r>
            <a:endParaRPr lang="en-GB" sz="1398" dirty="0"/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32738144-BA8F-4541-B544-7EE296E85F8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178969" y="2429596"/>
            <a:ext cx="1872861" cy="2013860"/>
          </a:xfrm>
          <a:prstGeom prst="rect">
            <a:avLst/>
          </a:prstGeom>
        </p:spPr>
      </p:pic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D8FA32DA-69C3-4871-BEB3-612478B75E11}"/>
              </a:ext>
            </a:extLst>
          </p:cNvPr>
          <p:cNvSpPr txBox="1">
            <a:spLocks/>
          </p:cNvSpPr>
          <p:nvPr/>
        </p:nvSpPr>
        <p:spPr>
          <a:xfrm>
            <a:off x="898872" y="2429597"/>
            <a:ext cx="4531727" cy="391259"/>
          </a:xfrm>
          <a:prstGeom prst="rect">
            <a:avLst/>
          </a:prstGeom>
        </p:spPr>
        <p:txBody>
          <a:bodyPr/>
          <a:lstStyle>
            <a:lvl1pPr marL="342869" indent="-342869" algn="l" rtl="0" eaLnBrk="1" fontAlgn="base" hangingPunct="1">
              <a:lnSpc>
                <a:spcPts val="2100"/>
              </a:lnSpc>
              <a:spcBef>
                <a:spcPct val="20000"/>
              </a:spcBef>
              <a:spcAft>
                <a:spcPct val="0"/>
              </a:spcAft>
              <a:buFont typeface="MetaPlusLF" pitchFamily="2" charset="0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82" indent="-285724" algn="l" rtl="0" eaLnBrk="1" fontAlgn="base" hangingPunct="1">
              <a:lnSpc>
                <a:spcPts val="21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96" indent="-228579" algn="l" rtl="0" eaLnBrk="1" fontAlgn="base" hangingPunct="1">
              <a:lnSpc>
                <a:spcPts val="21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55" indent="-228579" algn="l" rtl="0" eaLnBrk="1" fontAlgn="base" hangingPunct="1">
              <a:lnSpc>
                <a:spcPts val="21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14" indent="-228579" algn="l" rtl="0" eaLnBrk="1" fontAlgn="base" hangingPunct="1">
              <a:lnSpc>
                <a:spcPts val="21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71" indent="-228579" algn="l" defTabSz="91431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30" indent="-228579" algn="l" defTabSz="91431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89" indent="-228579" algn="l" defTabSz="91431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48" indent="-228579" algn="l" defTabSz="91431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3433">
              <a:buNone/>
            </a:pPr>
            <a:endParaRPr lang="en-GB" sz="1764" b="1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B08AEA79-5826-499F-9315-2151F456607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2666116">
            <a:off x="3683215" y="2896398"/>
            <a:ext cx="2188473" cy="1751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52153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A8115E4C-F7CD-4858-8E68-789F461292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265" y="8725"/>
          <a:ext cx="1584" cy="1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A8115E4C-F7CD-4858-8E68-789F461292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265" y="8725"/>
                        <a:ext cx="1584" cy="15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8E8986A-E3EE-4781-B784-2AEFBF0A5AF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2681" y="7141"/>
            <a:ext cx="158413" cy="15841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096"/>
              </a:lnSpc>
            </a:pPr>
            <a:endParaRPr lang="en-GB" sz="2098" b="1" dirty="0">
              <a:latin typeface="MetaPlusLF" panose="02000503060000020004" pitchFamily="2" charset="0"/>
              <a:ea typeface="+mj-ea"/>
              <a:cs typeface="+mj-cs"/>
              <a:sym typeface="MetaPlusLF" panose="02000503060000020004" pitchFamily="2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GB"/>
              <a:t>CPX/VTSA-F-CB </a:t>
            </a:r>
            <a:r>
              <a:rPr lang="en-GB" dirty="0"/>
              <a:t>with serial communication, 3xM12 for zones and vacuum integration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41F4311-C481-4040-A29B-4BBF22CE7B6A}"/>
              </a:ext>
            </a:extLst>
          </p:cNvPr>
          <p:cNvSpPr/>
          <p:nvPr/>
        </p:nvSpPr>
        <p:spPr>
          <a:xfrm>
            <a:off x="4334012" y="3274615"/>
            <a:ext cx="625686" cy="382364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46" tIns="45623" rIns="91246" bIns="45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597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E4115AFB-4C05-4A4C-9165-F4B7F1BDA34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62308" y="2718010"/>
            <a:ext cx="8035714" cy="3618175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04E1D0F3-900F-4C0E-A828-922031559F5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00850" y="3656979"/>
            <a:ext cx="295906" cy="271247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0F8B8C62-681B-40F3-A34B-A034CE2FF4B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00850" y="3992007"/>
            <a:ext cx="295906" cy="271247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8B94CBF5-5D11-4F9D-9F00-4254BA8BCC2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00850" y="4310591"/>
            <a:ext cx="295906" cy="271247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44A720B1-3709-4CB4-994A-C8E2E5FDE18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641796" y="2889622"/>
            <a:ext cx="647531" cy="1420968"/>
          </a:xfrm>
          <a:prstGeom prst="rect">
            <a:avLst/>
          </a:prstGeom>
        </p:spPr>
      </p:pic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2735A1D1-4F27-46AE-AEC3-CCA0B23EDF39}"/>
              </a:ext>
            </a:extLst>
          </p:cNvPr>
          <p:cNvCxnSpPr>
            <a:cxnSpLocks/>
            <a:endCxn id="30" idx="2"/>
          </p:cNvCxnSpPr>
          <p:nvPr/>
        </p:nvCxnSpPr>
        <p:spPr>
          <a:xfrm flipV="1">
            <a:off x="4646853" y="4581838"/>
            <a:ext cx="1951" cy="708260"/>
          </a:xfrm>
          <a:prstGeom prst="line">
            <a:avLst/>
          </a:prstGeom>
          <a:ln w="349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31DABA2F-3BB6-4ACB-AA62-A258637CAB32}"/>
              </a:ext>
            </a:extLst>
          </p:cNvPr>
          <p:cNvCxnSpPr>
            <a:cxnSpLocks/>
          </p:cNvCxnSpPr>
          <p:nvPr/>
        </p:nvCxnSpPr>
        <p:spPr>
          <a:xfrm flipV="1">
            <a:off x="4473458" y="4169986"/>
            <a:ext cx="0" cy="1009993"/>
          </a:xfrm>
          <a:prstGeom prst="line">
            <a:avLst/>
          </a:prstGeom>
          <a:ln w="349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D733F5EF-3E45-421F-9E19-86AB677F1181}"/>
              </a:ext>
            </a:extLst>
          </p:cNvPr>
          <p:cNvCxnSpPr>
            <a:cxnSpLocks/>
          </p:cNvCxnSpPr>
          <p:nvPr/>
        </p:nvCxnSpPr>
        <p:spPr>
          <a:xfrm flipH="1" flipV="1">
            <a:off x="4480944" y="4174147"/>
            <a:ext cx="175083" cy="1"/>
          </a:xfrm>
          <a:prstGeom prst="line">
            <a:avLst/>
          </a:prstGeom>
          <a:ln w="349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ED57463E-5BA3-4796-B4C8-5DCECCC1E571}"/>
              </a:ext>
            </a:extLst>
          </p:cNvPr>
          <p:cNvCxnSpPr>
            <a:cxnSpLocks/>
          </p:cNvCxnSpPr>
          <p:nvPr/>
        </p:nvCxnSpPr>
        <p:spPr>
          <a:xfrm flipV="1">
            <a:off x="4351796" y="3820212"/>
            <a:ext cx="0" cy="1223707"/>
          </a:xfrm>
          <a:prstGeom prst="line">
            <a:avLst/>
          </a:prstGeom>
          <a:ln w="349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53B3C858-A35C-47C1-8CB5-C6774A60996B}"/>
              </a:ext>
            </a:extLst>
          </p:cNvPr>
          <p:cNvCxnSpPr>
            <a:cxnSpLocks/>
          </p:cNvCxnSpPr>
          <p:nvPr/>
        </p:nvCxnSpPr>
        <p:spPr>
          <a:xfrm flipH="1" flipV="1">
            <a:off x="4359282" y="3824371"/>
            <a:ext cx="175083" cy="1"/>
          </a:xfrm>
          <a:prstGeom prst="line">
            <a:avLst/>
          </a:prstGeom>
          <a:ln w="349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CB155205-F832-4D06-82AB-289B784F1EA0}"/>
              </a:ext>
            </a:extLst>
          </p:cNvPr>
          <p:cNvCxnSpPr>
            <a:cxnSpLocks/>
          </p:cNvCxnSpPr>
          <p:nvPr/>
        </p:nvCxnSpPr>
        <p:spPr>
          <a:xfrm flipV="1">
            <a:off x="3324319" y="5025682"/>
            <a:ext cx="1019995" cy="7076"/>
          </a:xfrm>
          <a:prstGeom prst="line">
            <a:avLst/>
          </a:prstGeom>
          <a:ln w="349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>
            <a:extLst>
              <a:ext uri="{FF2B5EF4-FFF2-40B4-BE49-F238E27FC236}">
                <a16:creationId xmlns:a16="http://schemas.microsoft.com/office/drawing/2014/main" id="{D2184166-B7AC-4572-8419-BA03D8C4D793}"/>
              </a:ext>
            </a:extLst>
          </p:cNvPr>
          <p:cNvSpPr/>
          <p:nvPr/>
        </p:nvSpPr>
        <p:spPr>
          <a:xfrm>
            <a:off x="2269245" y="3737856"/>
            <a:ext cx="647531" cy="47065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46" tIns="45623" rIns="91246" bIns="45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597" dirty="0"/>
          </a:p>
        </p:txBody>
      </p:sp>
      <p:pic>
        <p:nvPicPr>
          <p:cNvPr id="59" name="Grafik 58">
            <a:extLst>
              <a:ext uri="{FF2B5EF4-FFF2-40B4-BE49-F238E27FC236}">
                <a16:creationId xmlns:a16="http://schemas.microsoft.com/office/drawing/2014/main" id="{4DDB5411-B9AE-4A0E-8F26-7925A93ADA4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51350" y="3873800"/>
            <a:ext cx="216827" cy="198759"/>
          </a:xfrm>
          <a:prstGeom prst="rect">
            <a:avLst/>
          </a:prstGeom>
        </p:spPr>
      </p:pic>
      <p:pic>
        <p:nvPicPr>
          <p:cNvPr id="57" name="Grafik 56">
            <a:extLst>
              <a:ext uri="{FF2B5EF4-FFF2-40B4-BE49-F238E27FC236}">
                <a16:creationId xmlns:a16="http://schemas.microsoft.com/office/drawing/2014/main" id="{6712A78F-58EC-4FE7-8535-F47F36497CA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12415" y="3884731"/>
            <a:ext cx="216827" cy="198759"/>
          </a:xfrm>
          <a:prstGeom prst="rect">
            <a:avLst/>
          </a:prstGeom>
        </p:spPr>
      </p:pic>
      <p:sp>
        <p:nvSpPr>
          <p:cNvPr id="60" name="Rechteck 59">
            <a:extLst>
              <a:ext uri="{FF2B5EF4-FFF2-40B4-BE49-F238E27FC236}">
                <a16:creationId xmlns:a16="http://schemas.microsoft.com/office/drawing/2014/main" id="{A9CF9F34-710F-4381-AEBF-D08ABC55DD2D}"/>
              </a:ext>
            </a:extLst>
          </p:cNvPr>
          <p:cNvSpPr/>
          <p:nvPr/>
        </p:nvSpPr>
        <p:spPr>
          <a:xfrm>
            <a:off x="2269245" y="4365339"/>
            <a:ext cx="1372546" cy="61300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46" tIns="45623" rIns="91246" bIns="45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597" dirty="0"/>
          </a:p>
        </p:txBody>
      </p:sp>
      <p:pic>
        <p:nvPicPr>
          <p:cNvPr id="61" name="Grafik 60">
            <a:extLst>
              <a:ext uri="{FF2B5EF4-FFF2-40B4-BE49-F238E27FC236}">
                <a16:creationId xmlns:a16="http://schemas.microsoft.com/office/drawing/2014/main" id="{ED1FCB6F-5B7B-48E6-80EA-AC8D267D691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12265" y="2451828"/>
            <a:ext cx="965771" cy="1148278"/>
          </a:xfrm>
          <a:prstGeom prst="rect">
            <a:avLst/>
          </a:prstGeom>
        </p:spPr>
      </p:pic>
      <p:cxnSp>
        <p:nvCxnSpPr>
          <p:cNvPr id="63" name="Gerader Verbinder 62">
            <a:extLst>
              <a:ext uri="{FF2B5EF4-FFF2-40B4-BE49-F238E27FC236}">
                <a16:creationId xmlns:a16="http://schemas.microsoft.com/office/drawing/2014/main" id="{BB94B065-CC4C-4602-A03C-816DA7176011}"/>
              </a:ext>
            </a:extLst>
          </p:cNvPr>
          <p:cNvCxnSpPr>
            <a:cxnSpLocks/>
          </p:cNvCxnSpPr>
          <p:nvPr/>
        </p:nvCxnSpPr>
        <p:spPr>
          <a:xfrm flipH="1" flipV="1">
            <a:off x="489756" y="3973180"/>
            <a:ext cx="1895656" cy="10933"/>
          </a:xfrm>
          <a:prstGeom prst="line">
            <a:avLst/>
          </a:prstGeom>
          <a:ln w="412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D95FCEF6-248A-49DA-BAAA-AD6B2CB35E38}"/>
              </a:ext>
            </a:extLst>
          </p:cNvPr>
          <p:cNvCxnSpPr>
            <a:cxnSpLocks/>
          </p:cNvCxnSpPr>
          <p:nvPr/>
        </p:nvCxnSpPr>
        <p:spPr>
          <a:xfrm flipH="1" flipV="1">
            <a:off x="472457" y="5627893"/>
            <a:ext cx="1703974" cy="2033"/>
          </a:xfrm>
          <a:prstGeom prst="line">
            <a:avLst/>
          </a:prstGeom>
          <a:ln w="412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AB340E79-8908-4393-A29E-17C9027ED7D5}"/>
              </a:ext>
            </a:extLst>
          </p:cNvPr>
          <p:cNvCxnSpPr>
            <a:cxnSpLocks/>
          </p:cNvCxnSpPr>
          <p:nvPr/>
        </p:nvCxnSpPr>
        <p:spPr>
          <a:xfrm flipV="1">
            <a:off x="472457" y="3202521"/>
            <a:ext cx="1" cy="2428917"/>
          </a:xfrm>
          <a:prstGeom prst="line">
            <a:avLst/>
          </a:prstGeom>
          <a:ln w="412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" name="Grafik 70">
            <a:extLst>
              <a:ext uri="{FF2B5EF4-FFF2-40B4-BE49-F238E27FC236}">
                <a16:creationId xmlns:a16="http://schemas.microsoft.com/office/drawing/2014/main" id="{6F8B8734-C05D-4F91-9EFC-6D85B90661C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98079" y="3693745"/>
            <a:ext cx="1049420" cy="197717"/>
          </a:xfrm>
          <a:prstGeom prst="rect">
            <a:avLst/>
          </a:prstGeom>
        </p:spPr>
      </p:pic>
      <p:pic>
        <p:nvPicPr>
          <p:cNvPr id="72" name="Grafik 71">
            <a:extLst>
              <a:ext uri="{FF2B5EF4-FFF2-40B4-BE49-F238E27FC236}">
                <a16:creationId xmlns:a16="http://schemas.microsoft.com/office/drawing/2014/main" id="{72D28E7A-DDBE-41DB-8385-9289022A62C4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191628" y="5840401"/>
            <a:ext cx="555869" cy="430012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ABF25025-F19D-458A-9E94-2303F10A352D}"/>
              </a:ext>
            </a:extLst>
          </p:cNvPr>
          <p:cNvSpPr txBox="1"/>
          <p:nvPr/>
        </p:nvSpPr>
        <p:spPr>
          <a:xfrm>
            <a:off x="8503713" y="5335815"/>
            <a:ext cx="3300602" cy="59363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599"/>
              <a:t>This is an example. It is also </a:t>
            </a:r>
          </a:p>
          <a:p>
            <a:r>
              <a:rPr lang="en-GB" sz="1599"/>
              <a:t>possible with other safety switches.</a:t>
            </a:r>
            <a:endParaRPr lang="en-GB" sz="1599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F88372A-858F-457A-BEBF-F26D3BA2ED12}"/>
              </a:ext>
            </a:extLst>
          </p:cNvPr>
          <p:cNvSpPr/>
          <p:nvPr/>
        </p:nvSpPr>
        <p:spPr>
          <a:xfrm>
            <a:off x="2176431" y="5398459"/>
            <a:ext cx="2182845" cy="845653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372">
                <a:solidFill>
                  <a:schemeClr val="tx1"/>
                </a:solidFill>
              </a:rPr>
              <a:t>CIP Safety Output modul</a:t>
            </a:r>
            <a:endParaRPr lang="en-GB" sz="1372" dirty="0">
              <a:solidFill>
                <a:schemeClr val="tx1"/>
              </a:solidFill>
            </a:endParaRP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AC94F6D-011C-4D98-B7F9-9ADFB42F963F}"/>
              </a:ext>
            </a:extLst>
          </p:cNvPr>
          <p:cNvCxnSpPr/>
          <p:nvPr/>
        </p:nvCxnSpPr>
        <p:spPr>
          <a:xfrm flipV="1">
            <a:off x="4075914" y="5262722"/>
            <a:ext cx="0" cy="365171"/>
          </a:xfrm>
          <a:prstGeom prst="line">
            <a:avLst/>
          </a:prstGeom>
          <a:ln w="349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E7BECC79-D506-40A0-8D79-D6B0B2093E7B}"/>
              </a:ext>
            </a:extLst>
          </p:cNvPr>
          <p:cNvCxnSpPr>
            <a:cxnSpLocks/>
          </p:cNvCxnSpPr>
          <p:nvPr/>
        </p:nvCxnSpPr>
        <p:spPr>
          <a:xfrm flipV="1">
            <a:off x="4088079" y="5285144"/>
            <a:ext cx="567898" cy="1"/>
          </a:xfrm>
          <a:prstGeom prst="line">
            <a:avLst/>
          </a:prstGeom>
          <a:ln w="349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4E4909A6-E248-4232-A649-6292A6D82BDA}"/>
              </a:ext>
            </a:extLst>
          </p:cNvPr>
          <p:cNvCxnSpPr>
            <a:cxnSpLocks/>
          </p:cNvCxnSpPr>
          <p:nvPr/>
        </p:nvCxnSpPr>
        <p:spPr>
          <a:xfrm flipV="1">
            <a:off x="3718076" y="5179980"/>
            <a:ext cx="0" cy="447913"/>
          </a:xfrm>
          <a:prstGeom prst="line">
            <a:avLst/>
          </a:prstGeom>
          <a:ln w="349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665207EB-EE58-4BAE-8BD5-E60ECFD3EC4A}"/>
              </a:ext>
            </a:extLst>
          </p:cNvPr>
          <p:cNvCxnSpPr>
            <a:cxnSpLocks/>
          </p:cNvCxnSpPr>
          <p:nvPr/>
        </p:nvCxnSpPr>
        <p:spPr>
          <a:xfrm flipV="1">
            <a:off x="3708310" y="5179981"/>
            <a:ext cx="765150" cy="1"/>
          </a:xfrm>
          <a:prstGeom prst="line">
            <a:avLst/>
          </a:prstGeom>
          <a:ln w="349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2A6E67D4-494E-4A87-AFBD-7ACFB41A2814}"/>
              </a:ext>
            </a:extLst>
          </p:cNvPr>
          <p:cNvCxnSpPr>
            <a:cxnSpLocks/>
          </p:cNvCxnSpPr>
          <p:nvPr/>
        </p:nvCxnSpPr>
        <p:spPr>
          <a:xfrm flipV="1">
            <a:off x="3331801" y="5025684"/>
            <a:ext cx="0" cy="571795"/>
          </a:xfrm>
          <a:prstGeom prst="line">
            <a:avLst/>
          </a:prstGeom>
          <a:ln w="349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Ellipse 9">
            <a:extLst>
              <a:ext uri="{FF2B5EF4-FFF2-40B4-BE49-F238E27FC236}">
                <a16:creationId xmlns:a16="http://schemas.microsoft.com/office/drawing/2014/main" id="{06BC0CCF-B1E2-48E3-957D-BF7152C4E351}"/>
              </a:ext>
            </a:extLst>
          </p:cNvPr>
          <p:cNvSpPr/>
          <p:nvPr/>
        </p:nvSpPr>
        <p:spPr>
          <a:xfrm>
            <a:off x="3147138" y="5447908"/>
            <a:ext cx="336993" cy="298768"/>
          </a:xfrm>
          <a:prstGeom prst="ellipse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68" dirty="0"/>
          </a:p>
        </p:txBody>
      </p:sp>
      <p:sp>
        <p:nvSpPr>
          <p:cNvPr id="36" name="Ellipse 35">
            <a:extLst>
              <a:ext uri="{FF2B5EF4-FFF2-40B4-BE49-F238E27FC236}">
                <a16:creationId xmlns:a16="http://schemas.microsoft.com/office/drawing/2014/main" id="{D3C1CBC8-6419-47B9-8814-78E631C62551}"/>
              </a:ext>
            </a:extLst>
          </p:cNvPr>
          <p:cNvSpPr/>
          <p:nvPr/>
        </p:nvSpPr>
        <p:spPr>
          <a:xfrm>
            <a:off x="3516467" y="5444362"/>
            <a:ext cx="336993" cy="298768"/>
          </a:xfrm>
          <a:prstGeom prst="ellipse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68" dirty="0"/>
          </a:p>
        </p:txBody>
      </p:sp>
      <p:sp>
        <p:nvSpPr>
          <p:cNvPr id="37" name="Ellipse 36">
            <a:extLst>
              <a:ext uri="{FF2B5EF4-FFF2-40B4-BE49-F238E27FC236}">
                <a16:creationId xmlns:a16="http://schemas.microsoft.com/office/drawing/2014/main" id="{3AD9B2E3-7F12-44A1-B04B-3E0A2271422C}"/>
              </a:ext>
            </a:extLst>
          </p:cNvPr>
          <p:cNvSpPr/>
          <p:nvPr/>
        </p:nvSpPr>
        <p:spPr>
          <a:xfrm>
            <a:off x="3886462" y="5444362"/>
            <a:ext cx="336993" cy="298768"/>
          </a:xfrm>
          <a:prstGeom prst="ellipse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68" dirty="0"/>
          </a:p>
        </p:txBody>
      </p:sp>
    </p:spTree>
    <p:extLst>
      <p:ext uri="{BB962C8B-B14F-4D97-AF65-F5344CB8AC3E}">
        <p14:creationId xmlns:p14="http://schemas.microsoft.com/office/powerpoint/2010/main" val="7718068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BF9138C2-FC7C-49A0-B2AB-0D05E45F4B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7930" y="5158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Folie" r:id="rId14" imgW="270" imgH="270" progId="TCLayout.ActiveDocument.1">
                  <p:embed/>
                </p:oleObj>
              </mc:Choice>
              <mc:Fallback>
                <p:oleObj name="think-cell Folie" r:id="rId14" imgW="270" imgH="27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BF9138C2-FC7C-49A0-B2AB-0D05E45F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7930" y="5158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C94210AD-9260-4206-BD00-5756A3D5091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344" y="3572"/>
            <a:ext cx="158581" cy="15858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098"/>
              </a:lnSpc>
            </a:pPr>
            <a:endParaRPr lang="en-GB" sz="2098" b="1" dirty="0">
              <a:latin typeface="MetaPlusLF" panose="02000503060000020004" pitchFamily="2" charset="0"/>
              <a:ea typeface="+mj-ea"/>
              <a:cs typeface="+mj-cs"/>
              <a:sym typeface="MetaPlusLF" panose="02000503060000020004" pitchFamily="2" charset="0"/>
            </a:endParaRPr>
          </a:p>
        </p:txBody>
      </p:sp>
      <p:pic>
        <p:nvPicPr>
          <p:cNvPr id="4" name="Grafik 3" descr="Ein Bild, das drinnen, Tisch, Computer, verschieden enthält.&#10;&#10;Automatisch generierte Beschreibung">
            <a:extLst>
              <a:ext uri="{FF2B5EF4-FFF2-40B4-BE49-F238E27FC236}">
                <a16:creationId xmlns:a16="http://schemas.microsoft.com/office/drawing/2014/main" id="{95020AA5-42D6-4D1A-8075-5316C9663A73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7183" y="1897383"/>
            <a:ext cx="8559853" cy="3765489"/>
          </a:xfrm>
          <a:prstGeom prst="rect">
            <a:avLst/>
          </a:prstGeom>
        </p:spPr>
      </p:pic>
      <p:sp>
        <p:nvSpPr>
          <p:cNvPr id="74" name="Rechteck 73">
            <a:extLst>
              <a:ext uri="{FF2B5EF4-FFF2-40B4-BE49-F238E27FC236}">
                <a16:creationId xmlns:a16="http://schemas.microsoft.com/office/drawing/2014/main" id="{5B747ED2-CCD1-42E2-8FF6-BDDAA4A6DC0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206072" y="5781118"/>
            <a:ext cx="1560522" cy="705440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r>
              <a:rPr lang="en-GB" sz="999" dirty="0"/>
              <a:t>Pilot Pressure:</a:t>
            </a:r>
          </a:p>
          <a:p>
            <a:r>
              <a:rPr lang="en-GB" sz="999" dirty="0"/>
              <a:t>Integrated control and integrated pressure switch feedback via CBUS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1B00613D-CF4A-4C25-947C-C79638832504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707779" y="5411539"/>
            <a:ext cx="5432563" cy="405578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r>
              <a:rPr lang="en-GB" sz="999" dirty="0"/>
              <a:t>Operating         Soft-start valve:</a:t>
            </a:r>
          </a:p>
          <a:p>
            <a:r>
              <a:rPr lang="en-GB" sz="999" dirty="0"/>
              <a:t>Pressure           Integrated control and integrated pressure switch feedback via CBUS </a:t>
            </a:r>
          </a:p>
        </p:txBody>
      </p: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705F50D2-030F-4AA3-A07D-4C0B859D2132}"/>
              </a:ext>
            </a:extLst>
          </p:cNvPr>
          <p:cNvCxnSpPr>
            <a:cxnSpLocks/>
          </p:cNvCxnSpPr>
          <p:nvPr/>
        </p:nvCxnSpPr>
        <p:spPr>
          <a:xfrm>
            <a:off x="9140341" y="4642549"/>
            <a:ext cx="0" cy="699189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A88015E5-185C-40B4-B106-2EF3F76668B5}"/>
              </a:ext>
            </a:extLst>
          </p:cNvPr>
          <p:cNvCxnSpPr>
            <a:cxnSpLocks/>
          </p:cNvCxnSpPr>
          <p:nvPr/>
        </p:nvCxnSpPr>
        <p:spPr>
          <a:xfrm>
            <a:off x="436620" y="5341739"/>
            <a:ext cx="8703721" cy="69800"/>
          </a:xfrm>
          <a:prstGeom prst="line">
            <a:avLst/>
          </a:prstGeom>
          <a:ln w="539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Rechteck 86">
            <a:extLst>
              <a:ext uri="{FF2B5EF4-FFF2-40B4-BE49-F238E27FC236}">
                <a16:creationId xmlns:a16="http://schemas.microsoft.com/office/drawing/2014/main" id="{9408FEF3-4B6C-4194-8585-EBE20B16C232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36621" y="5416165"/>
            <a:ext cx="1867102" cy="468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199" dirty="0"/>
              <a:t>Internal serial CBUS communication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C12AB6A3-DD91-42A4-8284-44B57327FCB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577769" y="4927003"/>
            <a:ext cx="639747" cy="4055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999" b="1" dirty="0"/>
              <a:t>Power</a:t>
            </a:r>
          </a:p>
          <a:p>
            <a:r>
              <a:rPr lang="en-GB" sz="999" b="1" dirty="0"/>
              <a:t>Zone 2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6C78920F-6DFE-43AF-8655-2E26688D6F72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7003358" y="6053866"/>
            <a:ext cx="639747" cy="4055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999" b="1" dirty="0"/>
              <a:t>Power</a:t>
            </a:r>
          </a:p>
          <a:p>
            <a:r>
              <a:rPr lang="en-GB" sz="999" b="1" dirty="0"/>
              <a:t>Zone 3</a:t>
            </a:r>
          </a:p>
        </p:txBody>
      </p:sp>
      <p:sp>
        <p:nvSpPr>
          <p:cNvPr id="96" name="Pfeil nach unten 29">
            <a:extLst>
              <a:ext uri="{FF2B5EF4-FFF2-40B4-BE49-F238E27FC236}">
                <a16:creationId xmlns:a16="http://schemas.microsoft.com/office/drawing/2014/main" id="{4E0D2C9B-2B69-4E9C-8219-72E0411B0355}"/>
              </a:ext>
            </a:extLst>
          </p:cNvPr>
          <p:cNvSpPr/>
          <p:nvPr/>
        </p:nvSpPr>
        <p:spPr>
          <a:xfrm rot="16200000">
            <a:off x="3914150" y="3207155"/>
            <a:ext cx="322302" cy="778978"/>
          </a:xfrm>
          <a:prstGeom prst="downArrow">
            <a:avLst>
              <a:gd name="adj1" fmla="val 38192"/>
              <a:gd name="adj2" fmla="val 50000"/>
            </a:avLst>
          </a:prstGeom>
          <a:pattFill prst="wdDnDiag">
            <a:fgClr>
              <a:schemeClr val="tx2"/>
            </a:fgClr>
            <a:bgClr>
              <a:srgbClr val="FFFF00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99" dirty="0"/>
          </a:p>
        </p:txBody>
      </p:sp>
      <p:sp>
        <p:nvSpPr>
          <p:cNvPr id="97" name="Pfeil nach unten 32">
            <a:extLst>
              <a:ext uri="{FF2B5EF4-FFF2-40B4-BE49-F238E27FC236}">
                <a16:creationId xmlns:a16="http://schemas.microsoft.com/office/drawing/2014/main" id="{9EACFCDF-0AEE-4C2B-AC4E-673D108142CB}"/>
              </a:ext>
            </a:extLst>
          </p:cNvPr>
          <p:cNvSpPr/>
          <p:nvPr/>
        </p:nvSpPr>
        <p:spPr>
          <a:xfrm rot="16200000">
            <a:off x="5454540" y="2080079"/>
            <a:ext cx="322302" cy="2157945"/>
          </a:xfrm>
          <a:prstGeom prst="downArrow">
            <a:avLst>
              <a:gd name="adj1" fmla="val 38192"/>
              <a:gd name="adj2" fmla="val 50000"/>
            </a:avLst>
          </a:prstGeom>
          <a:pattFill prst="wdDnDiag">
            <a:fgClr>
              <a:schemeClr val="tx2"/>
            </a:fgClr>
            <a:bgClr>
              <a:srgbClr val="FFFF00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99" dirty="0"/>
          </a:p>
        </p:txBody>
      </p:sp>
      <p:sp>
        <p:nvSpPr>
          <p:cNvPr id="22" name="Title 2">
            <a:extLst>
              <a:ext uri="{FF2B5EF4-FFF2-40B4-BE49-F238E27FC236}">
                <a16:creationId xmlns:a16="http://schemas.microsoft.com/office/drawing/2014/main" id="{E48B6A2F-F05C-404D-9A4C-1168ACDAA174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258076" y="1567910"/>
            <a:ext cx="11435847" cy="503465"/>
          </a:xfrm>
        </p:spPr>
        <p:txBody>
          <a:bodyPr/>
          <a:lstStyle/>
          <a:p>
            <a:r>
              <a:rPr lang="en-GB"/>
              <a:t>CPX/VTSA-F-CB </a:t>
            </a:r>
            <a:r>
              <a:rPr lang="en-GB" dirty="0"/>
              <a:t>with serial communication and safe zones</a:t>
            </a:r>
          </a:p>
        </p:txBody>
      </p:sp>
      <p:sp>
        <p:nvSpPr>
          <p:cNvPr id="26" name="Pfeil nach unten 32">
            <a:extLst>
              <a:ext uri="{FF2B5EF4-FFF2-40B4-BE49-F238E27FC236}">
                <a16:creationId xmlns:a16="http://schemas.microsoft.com/office/drawing/2014/main" id="{1D3F1736-85BF-4069-BCAB-EEF95B86C456}"/>
              </a:ext>
            </a:extLst>
          </p:cNvPr>
          <p:cNvSpPr/>
          <p:nvPr/>
        </p:nvSpPr>
        <p:spPr>
          <a:xfrm rot="16200000">
            <a:off x="8116010" y="3279775"/>
            <a:ext cx="322302" cy="1582495"/>
          </a:xfrm>
          <a:prstGeom prst="downArrow">
            <a:avLst>
              <a:gd name="adj1" fmla="val 38192"/>
              <a:gd name="adj2" fmla="val 50000"/>
            </a:avLst>
          </a:prstGeom>
          <a:pattFill prst="wdDnDiag">
            <a:fgClr>
              <a:schemeClr val="tx2"/>
            </a:fgClr>
            <a:bgClr>
              <a:srgbClr val="FFFF00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99" dirty="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3A69A6B1-A374-43D2-BF8F-4D0EA4D2FBBD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7507886" y="5813969"/>
            <a:ext cx="1560522" cy="705440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r>
              <a:rPr lang="en-GB" sz="999" dirty="0"/>
              <a:t>Pilot Pressure:</a:t>
            </a:r>
          </a:p>
          <a:p>
            <a:r>
              <a:rPr lang="en-GB" sz="999" dirty="0"/>
              <a:t>Integrated control and integrated pressure switch feedback via CBUS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83969C71-1A5D-47CA-95BE-B7625D0DCACB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4705120" y="6080280"/>
            <a:ext cx="639747" cy="4055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999" b="1" dirty="0"/>
              <a:t>Power</a:t>
            </a:r>
          </a:p>
          <a:p>
            <a:r>
              <a:rPr lang="en-GB" sz="999" b="1" dirty="0"/>
              <a:t>Zone 1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55B83F61-A5AB-4EA4-8845-4744A36A7225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3213626" y="5441953"/>
            <a:ext cx="639747" cy="4055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999" b="1" dirty="0"/>
              <a:t>Power</a:t>
            </a:r>
          </a:p>
          <a:p>
            <a:r>
              <a:rPr lang="en-GB" sz="999" b="1" dirty="0"/>
              <a:t>Zone 2</a:t>
            </a:r>
          </a:p>
        </p:txBody>
      </p:sp>
    </p:spTree>
    <p:extLst>
      <p:ext uri="{BB962C8B-B14F-4D97-AF65-F5344CB8AC3E}">
        <p14:creationId xmlns:p14="http://schemas.microsoft.com/office/powerpoint/2010/main" val="29187292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463ECB4D-683F-4754-8C9C-7F6D3D2D86A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7930" y="5158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Folie" r:id="rId5" imgW="277" imgH="277" progId="TCLayout.ActiveDocument.1">
                  <p:embed/>
                </p:oleObj>
              </mc:Choice>
              <mc:Fallback>
                <p:oleObj name="think-cell Folie" r:id="rId5" imgW="277" imgH="277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463ECB4D-683F-4754-8C9C-7F6D3D2D86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7930" y="5158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2">
            <a:extLst>
              <a:ext uri="{FF2B5EF4-FFF2-40B4-BE49-F238E27FC236}">
                <a16:creationId xmlns:a16="http://schemas.microsoft.com/office/drawing/2014/main" id="{74EF8260-FB57-44B4-B2F1-86E4698CE998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58076" y="1276474"/>
            <a:ext cx="11435847" cy="503465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MetaPlusLF" pitchFamily="2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MetaPlusLF" pitchFamily="2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MetaPlusLF" pitchFamily="2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MetaPlusLF" pitchFamily="2" charset="0"/>
              </a:defRPr>
            </a:lvl5pPr>
            <a:lvl6pPr marL="457159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MetaPlusLF" pitchFamily="2" charset="0"/>
              </a:defRPr>
            </a:lvl6pPr>
            <a:lvl7pPr marL="914316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MetaPlusLF" pitchFamily="2" charset="0"/>
              </a:defRPr>
            </a:lvl7pPr>
            <a:lvl8pPr marL="1371475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MetaPlusLF" pitchFamily="2" charset="0"/>
              </a:defRPr>
            </a:lvl8pPr>
            <a:lvl9pPr marL="1828634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MetaPlusLF" pitchFamily="2" charset="0"/>
              </a:defRPr>
            </a:lvl9pPr>
          </a:lstStyle>
          <a:p>
            <a:pPr defTabSz="913433"/>
            <a:r>
              <a:rPr lang="en-GB" sz="2098"/>
              <a:t>CPX | VTSA-F-CB </a:t>
            </a:r>
            <a:r>
              <a:rPr lang="en-GB" sz="2098" dirty="0"/>
              <a:t>configuration for FB36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E2762DAF-F63A-4277-BD59-3FD433BCB307}"/>
              </a:ext>
            </a:extLst>
          </p:cNvPr>
          <p:cNvSpPr txBox="1">
            <a:spLocks/>
          </p:cNvSpPr>
          <p:nvPr/>
        </p:nvSpPr>
        <p:spPr>
          <a:xfrm>
            <a:off x="276364" y="1636514"/>
            <a:ext cx="4531727" cy="391259"/>
          </a:xfrm>
          <a:prstGeom prst="rect">
            <a:avLst/>
          </a:prstGeom>
        </p:spPr>
        <p:txBody>
          <a:bodyPr/>
          <a:lstStyle>
            <a:lvl1pPr marL="342869" indent="-342869" algn="l" rtl="0" eaLnBrk="1" fontAlgn="base" hangingPunct="1">
              <a:lnSpc>
                <a:spcPts val="2100"/>
              </a:lnSpc>
              <a:spcBef>
                <a:spcPct val="20000"/>
              </a:spcBef>
              <a:spcAft>
                <a:spcPct val="0"/>
              </a:spcAft>
              <a:buFont typeface="MetaPlusLF" pitchFamily="2" charset="0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82" indent="-285724" algn="l" rtl="0" eaLnBrk="1" fontAlgn="base" hangingPunct="1">
              <a:lnSpc>
                <a:spcPts val="21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96" indent="-228579" algn="l" rtl="0" eaLnBrk="1" fontAlgn="base" hangingPunct="1">
              <a:lnSpc>
                <a:spcPts val="21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55" indent="-228579" algn="l" rtl="0" eaLnBrk="1" fontAlgn="base" hangingPunct="1">
              <a:lnSpc>
                <a:spcPts val="21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14" indent="-228579" algn="l" rtl="0" eaLnBrk="1" fontAlgn="base" hangingPunct="1">
              <a:lnSpc>
                <a:spcPts val="21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71" indent="-228579" algn="l" defTabSz="91431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30" indent="-228579" algn="l" defTabSz="91431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89" indent="-228579" algn="l" defTabSz="91431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48" indent="-228579" algn="l" defTabSz="91431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3433">
              <a:buNone/>
            </a:pPr>
            <a:r>
              <a:rPr lang="en-GB" sz="1764" b="1" dirty="0"/>
              <a:t>Terminal configuration</a:t>
            </a:r>
          </a:p>
        </p:txBody>
      </p:sp>
      <p:sp>
        <p:nvSpPr>
          <p:cNvPr id="5" name="Pfeil: eingekerbt nach rechts 4">
            <a:extLst>
              <a:ext uri="{FF2B5EF4-FFF2-40B4-BE49-F238E27FC236}">
                <a16:creationId xmlns:a16="http://schemas.microsoft.com/office/drawing/2014/main" id="{C6C1665F-C34C-4667-8266-3322C001BF9C}"/>
              </a:ext>
            </a:extLst>
          </p:cNvPr>
          <p:cNvSpPr/>
          <p:nvPr/>
        </p:nvSpPr>
        <p:spPr>
          <a:xfrm>
            <a:off x="367209" y="2110126"/>
            <a:ext cx="647384" cy="391259"/>
          </a:xfrm>
          <a:prstGeom prst="notched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99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E9C3984C-BD69-4799-8F7F-B12F2AC21E17}"/>
              </a:ext>
            </a:extLst>
          </p:cNvPr>
          <p:cNvSpPr txBox="1"/>
          <p:nvPr/>
        </p:nvSpPr>
        <p:spPr>
          <a:xfrm>
            <a:off x="1014593" y="2127658"/>
            <a:ext cx="9129359" cy="13227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599"/>
              <a:t>A way to configure a terminal in a Rockwell enviroment, is to use the .L5K export function of the FMT tool</a:t>
            </a:r>
          </a:p>
          <a:p>
            <a:pPr marL="882559" lvl="1" indent="-285448">
              <a:buFont typeface="Arial" panose="020B0604020202020204" pitchFamily="34" charset="0"/>
              <a:buChar char="•"/>
            </a:pPr>
            <a:r>
              <a:rPr lang="en-GB" sz="1599"/>
              <a:t>Go „online“ and upload the configuration in to the FESTO Maintanance (FMT) or</a:t>
            </a:r>
          </a:p>
          <a:p>
            <a:pPr marL="882559" lvl="1" indent="-285448">
              <a:buFont typeface="Arial" panose="020B0604020202020204" pitchFamily="34" charset="0"/>
              <a:buChar char="•"/>
            </a:pPr>
            <a:r>
              <a:rPr lang="en-GB" sz="1599"/>
              <a:t>Configure „offline“</a:t>
            </a:r>
          </a:p>
          <a:p>
            <a:endParaRPr lang="en-GB" sz="1599"/>
          </a:p>
          <a:p>
            <a:r>
              <a:rPr lang="en-GB" sz="1599"/>
              <a:t>Download a manual for the export process </a:t>
            </a:r>
            <a:r>
              <a:rPr lang="en-GB" sz="1599">
                <a:hlinkClick r:id="rId7"/>
              </a:rPr>
              <a:t>here</a:t>
            </a:r>
            <a:endParaRPr lang="en-GB" sz="1599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C159CCFB-7981-4539-8F1A-69463BEE122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0778" y="3659414"/>
            <a:ext cx="5002354" cy="2841903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223D7A3E-834D-44F0-8F58-528E471A9B7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49935" y="3552083"/>
            <a:ext cx="4807898" cy="3056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63775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463ECB4D-683F-4754-8C9C-7F6D3D2D86A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7930" y="5158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Folie" r:id="rId5" imgW="277" imgH="277" progId="TCLayout.ActiveDocument.1">
                  <p:embed/>
                </p:oleObj>
              </mc:Choice>
              <mc:Fallback>
                <p:oleObj name="think-cell Folie" r:id="rId5" imgW="277" imgH="277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463ECB4D-683F-4754-8C9C-7F6D3D2D86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7930" y="5158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2">
            <a:extLst>
              <a:ext uri="{FF2B5EF4-FFF2-40B4-BE49-F238E27FC236}">
                <a16:creationId xmlns:a16="http://schemas.microsoft.com/office/drawing/2014/main" id="{74EF8260-FB57-44B4-B2F1-86E4698CE998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58076" y="1567910"/>
            <a:ext cx="11435847" cy="503465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MetaPlusLF" pitchFamily="2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MetaPlusLF" pitchFamily="2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MetaPlusLF" pitchFamily="2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MetaPlusLF" pitchFamily="2" charset="0"/>
              </a:defRPr>
            </a:lvl5pPr>
            <a:lvl6pPr marL="457159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MetaPlusLF" pitchFamily="2" charset="0"/>
              </a:defRPr>
            </a:lvl6pPr>
            <a:lvl7pPr marL="914316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MetaPlusLF" pitchFamily="2" charset="0"/>
              </a:defRPr>
            </a:lvl7pPr>
            <a:lvl8pPr marL="1371475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MetaPlusLF" pitchFamily="2" charset="0"/>
              </a:defRPr>
            </a:lvl8pPr>
            <a:lvl9pPr marL="1828634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MetaPlusLF" pitchFamily="2" charset="0"/>
              </a:defRPr>
            </a:lvl9pPr>
          </a:lstStyle>
          <a:p>
            <a:pPr defTabSz="913433"/>
            <a:r>
              <a:rPr lang="en-GB" sz="2098"/>
              <a:t>CPX | VTSA-F-CB </a:t>
            </a:r>
            <a:r>
              <a:rPr lang="en-GB" sz="2098" dirty="0"/>
              <a:t>configuration for FB36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E2762DAF-F63A-4277-BD59-3FD433BCB307}"/>
              </a:ext>
            </a:extLst>
          </p:cNvPr>
          <p:cNvSpPr txBox="1">
            <a:spLocks/>
          </p:cNvSpPr>
          <p:nvPr/>
        </p:nvSpPr>
        <p:spPr>
          <a:xfrm>
            <a:off x="276364" y="2001640"/>
            <a:ext cx="4531727" cy="391259"/>
          </a:xfrm>
          <a:prstGeom prst="rect">
            <a:avLst/>
          </a:prstGeom>
        </p:spPr>
        <p:txBody>
          <a:bodyPr/>
          <a:lstStyle>
            <a:lvl1pPr marL="342869" indent="-342869" algn="l" rtl="0" eaLnBrk="1" fontAlgn="base" hangingPunct="1">
              <a:lnSpc>
                <a:spcPts val="2100"/>
              </a:lnSpc>
              <a:spcBef>
                <a:spcPct val="20000"/>
              </a:spcBef>
              <a:spcAft>
                <a:spcPct val="0"/>
              </a:spcAft>
              <a:buFont typeface="MetaPlusLF" pitchFamily="2" charset="0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82" indent="-285724" algn="l" rtl="0" eaLnBrk="1" fontAlgn="base" hangingPunct="1">
              <a:lnSpc>
                <a:spcPts val="21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96" indent="-228579" algn="l" rtl="0" eaLnBrk="1" fontAlgn="base" hangingPunct="1">
              <a:lnSpc>
                <a:spcPts val="21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55" indent="-228579" algn="l" rtl="0" eaLnBrk="1" fontAlgn="base" hangingPunct="1">
              <a:lnSpc>
                <a:spcPts val="21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14" indent="-228579" algn="l" rtl="0" eaLnBrk="1" fontAlgn="base" hangingPunct="1">
              <a:lnSpc>
                <a:spcPts val="21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71" indent="-228579" algn="l" defTabSz="91431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30" indent="-228579" algn="l" defTabSz="91431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89" indent="-228579" algn="l" defTabSz="91431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48" indent="-228579" algn="l" defTabSz="91431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3433">
              <a:buNone/>
            </a:pPr>
            <a:r>
              <a:rPr lang="en-GB" sz="1764" b="1" dirty="0"/>
              <a:t>Terminal configuratio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58C4F5E-E525-4003-B56C-8B11D52BDE9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71282" y="2088063"/>
            <a:ext cx="8558593" cy="4275194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AC19FC84-AFFC-4735-8B80-9E9ECAAB0B1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8034" y="3117356"/>
            <a:ext cx="2930586" cy="2521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26297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463ECB4D-683F-4754-8C9C-7F6D3D2D86A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7930" y="5158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Folie" r:id="rId5" imgW="277" imgH="277" progId="TCLayout.ActiveDocument.1">
                  <p:embed/>
                </p:oleObj>
              </mc:Choice>
              <mc:Fallback>
                <p:oleObj name="think-cell Folie" r:id="rId5" imgW="277" imgH="277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463ECB4D-683F-4754-8C9C-7F6D3D2D86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7930" y="5158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2">
            <a:extLst>
              <a:ext uri="{FF2B5EF4-FFF2-40B4-BE49-F238E27FC236}">
                <a16:creationId xmlns:a16="http://schemas.microsoft.com/office/drawing/2014/main" id="{74EF8260-FB57-44B4-B2F1-86E4698CE998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58076" y="1567910"/>
            <a:ext cx="11435847" cy="503465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MetaPlusLF" pitchFamily="2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MetaPlusLF" pitchFamily="2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MetaPlusLF" pitchFamily="2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MetaPlusLF" pitchFamily="2" charset="0"/>
              </a:defRPr>
            </a:lvl5pPr>
            <a:lvl6pPr marL="457159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MetaPlusLF" pitchFamily="2" charset="0"/>
              </a:defRPr>
            </a:lvl6pPr>
            <a:lvl7pPr marL="914316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MetaPlusLF" pitchFamily="2" charset="0"/>
              </a:defRPr>
            </a:lvl7pPr>
            <a:lvl8pPr marL="1371475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MetaPlusLF" pitchFamily="2" charset="0"/>
              </a:defRPr>
            </a:lvl8pPr>
            <a:lvl9pPr marL="1828634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MetaPlusLF" pitchFamily="2" charset="0"/>
              </a:defRPr>
            </a:lvl9pPr>
          </a:lstStyle>
          <a:p>
            <a:pPr defTabSz="913433"/>
            <a:r>
              <a:rPr lang="en-GB" sz="2098"/>
              <a:t>CPX | VTSA-CB </a:t>
            </a:r>
            <a:r>
              <a:rPr lang="en-GB" sz="2098" dirty="0"/>
              <a:t>configuration for FB36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E2762DAF-F63A-4277-BD59-3FD433BCB307}"/>
              </a:ext>
            </a:extLst>
          </p:cNvPr>
          <p:cNvSpPr txBox="1">
            <a:spLocks/>
          </p:cNvSpPr>
          <p:nvPr/>
        </p:nvSpPr>
        <p:spPr>
          <a:xfrm>
            <a:off x="276364" y="2001640"/>
            <a:ext cx="4531727" cy="391259"/>
          </a:xfrm>
          <a:prstGeom prst="rect">
            <a:avLst/>
          </a:prstGeom>
        </p:spPr>
        <p:txBody>
          <a:bodyPr/>
          <a:lstStyle>
            <a:lvl1pPr marL="342869" indent="-342869" algn="l" rtl="0" eaLnBrk="1" fontAlgn="base" hangingPunct="1">
              <a:lnSpc>
                <a:spcPts val="2100"/>
              </a:lnSpc>
              <a:spcBef>
                <a:spcPct val="20000"/>
              </a:spcBef>
              <a:spcAft>
                <a:spcPct val="0"/>
              </a:spcAft>
              <a:buFont typeface="MetaPlusLF" pitchFamily="2" charset="0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82" indent="-285724" algn="l" rtl="0" eaLnBrk="1" fontAlgn="base" hangingPunct="1">
              <a:lnSpc>
                <a:spcPts val="21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96" indent="-228579" algn="l" rtl="0" eaLnBrk="1" fontAlgn="base" hangingPunct="1">
              <a:lnSpc>
                <a:spcPts val="21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55" indent="-228579" algn="l" rtl="0" eaLnBrk="1" fontAlgn="base" hangingPunct="1">
              <a:lnSpc>
                <a:spcPts val="21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14" indent="-228579" algn="l" rtl="0" eaLnBrk="1" fontAlgn="base" hangingPunct="1">
              <a:lnSpc>
                <a:spcPts val="21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71" indent="-228579" algn="l" defTabSz="91431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30" indent="-228579" algn="l" defTabSz="91431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89" indent="-228579" algn="l" defTabSz="91431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48" indent="-228579" algn="l" defTabSz="91431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3433">
              <a:buNone/>
            </a:pPr>
            <a:r>
              <a:rPr lang="en-GB" sz="1764" b="1" dirty="0"/>
              <a:t>Terminal configuration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C3417CA-10B5-4D14-B9FE-E52CB91140D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962" y="2401185"/>
            <a:ext cx="8919513" cy="4090531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457B2C76-B47D-49C2-9390-D4A20335CAF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042796" y="2861186"/>
            <a:ext cx="2881042" cy="655220"/>
          </a:xfrm>
          <a:prstGeom prst="rect">
            <a:avLst/>
          </a:prstGeom>
        </p:spPr>
      </p:pic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0DA7A5D8-B6E1-487D-AACC-AAF76312D730}"/>
              </a:ext>
            </a:extLst>
          </p:cNvPr>
          <p:cNvCxnSpPr/>
          <p:nvPr/>
        </p:nvCxnSpPr>
        <p:spPr>
          <a:xfrm>
            <a:off x="10417981" y="3508569"/>
            <a:ext cx="0" cy="937881"/>
          </a:xfrm>
          <a:prstGeom prst="line">
            <a:avLst/>
          </a:prstGeom>
          <a:ln w="317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BCC3CDC4-BF8F-4203-9445-D1EEDCB9E08D}"/>
              </a:ext>
            </a:extLst>
          </p:cNvPr>
          <p:cNvCxnSpPr>
            <a:cxnSpLocks/>
          </p:cNvCxnSpPr>
          <p:nvPr/>
        </p:nvCxnSpPr>
        <p:spPr>
          <a:xfrm flipH="1" flipV="1">
            <a:off x="9051931" y="4446450"/>
            <a:ext cx="1375185" cy="7836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F0200FBE-CA6F-4D12-B0A0-95E384B26315}"/>
              </a:ext>
            </a:extLst>
          </p:cNvPr>
          <p:cNvCxnSpPr>
            <a:cxnSpLocks/>
          </p:cNvCxnSpPr>
          <p:nvPr/>
        </p:nvCxnSpPr>
        <p:spPr>
          <a:xfrm>
            <a:off x="10650901" y="3516406"/>
            <a:ext cx="0" cy="1143069"/>
          </a:xfrm>
          <a:prstGeom prst="line">
            <a:avLst/>
          </a:prstGeom>
          <a:ln w="317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156D22A-B5D7-453C-AFF0-1FF3BE0BB21C}"/>
              </a:ext>
            </a:extLst>
          </p:cNvPr>
          <p:cNvCxnSpPr>
            <a:cxnSpLocks/>
          </p:cNvCxnSpPr>
          <p:nvPr/>
        </p:nvCxnSpPr>
        <p:spPr>
          <a:xfrm flipH="1">
            <a:off x="9042797" y="4659474"/>
            <a:ext cx="1608105" cy="0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09A63C49-E48E-45DA-8C66-E0FB2344C04D}"/>
              </a:ext>
            </a:extLst>
          </p:cNvPr>
          <p:cNvCxnSpPr>
            <a:cxnSpLocks/>
          </p:cNvCxnSpPr>
          <p:nvPr/>
        </p:nvCxnSpPr>
        <p:spPr>
          <a:xfrm>
            <a:off x="10974022" y="3516562"/>
            <a:ext cx="0" cy="1349574"/>
          </a:xfrm>
          <a:prstGeom prst="line">
            <a:avLst/>
          </a:prstGeom>
          <a:ln w="317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22751656-E94C-4EC1-8351-AED5770E265D}"/>
              </a:ext>
            </a:extLst>
          </p:cNvPr>
          <p:cNvCxnSpPr>
            <a:cxnSpLocks/>
          </p:cNvCxnSpPr>
          <p:nvPr/>
        </p:nvCxnSpPr>
        <p:spPr>
          <a:xfrm flipH="1">
            <a:off x="9051931" y="4875269"/>
            <a:ext cx="1912957" cy="0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3118B451-EDFA-4093-B5E0-90CB0EE1C72F}"/>
              </a:ext>
            </a:extLst>
          </p:cNvPr>
          <p:cNvCxnSpPr>
            <a:cxnSpLocks/>
          </p:cNvCxnSpPr>
          <p:nvPr/>
        </p:nvCxnSpPr>
        <p:spPr>
          <a:xfrm>
            <a:off x="11261748" y="3525695"/>
            <a:ext cx="0" cy="1893550"/>
          </a:xfrm>
          <a:prstGeom prst="line">
            <a:avLst/>
          </a:prstGeom>
          <a:ln w="317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8AAC6736-4611-491A-9B4E-DAF64DE83A50}"/>
              </a:ext>
            </a:extLst>
          </p:cNvPr>
          <p:cNvCxnSpPr>
            <a:cxnSpLocks/>
          </p:cNvCxnSpPr>
          <p:nvPr/>
        </p:nvCxnSpPr>
        <p:spPr>
          <a:xfrm flipH="1">
            <a:off x="9073682" y="5419245"/>
            <a:ext cx="2188067" cy="0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BFED7582-24CD-400C-8D7E-6C60BA225497}"/>
              </a:ext>
            </a:extLst>
          </p:cNvPr>
          <p:cNvCxnSpPr>
            <a:cxnSpLocks/>
          </p:cNvCxnSpPr>
          <p:nvPr/>
        </p:nvCxnSpPr>
        <p:spPr>
          <a:xfrm>
            <a:off x="11567743" y="3525696"/>
            <a:ext cx="0" cy="2094007"/>
          </a:xfrm>
          <a:prstGeom prst="line">
            <a:avLst/>
          </a:prstGeom>
          <a:ln w="317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0527D68-5EB8-4441-95DD-7866DA6370E6}"/>
              </a:ext>
            </a:extLst>
          </p:cNvPr>
          <p:cNvCxnSpPr>
            <a:cxnSpLocks/>
          </p:cNvCxnSpPr>
          <p:nvPr/>
        </p:nvCxnSpPr>
        <p:spPr>
          <a:xfrm flipH="1">
            <a:off x="9076399" y="5619702"/>
            <a:ext cx="2491344" cy="0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>
            <a:extLst>
              <a:ext uri="{FF2B5EF4-FFF2-40B4-BE49-F238E27FC236}">
                <a16:creationId xmlns:a16="http://schemas.microsoft.com/office/drawing/2014/main" id="{6E9DEA3A-A0C6-4E4E-A9E1-30DC11E3E6EB}"/>
              </a:ext>
            </a:extLst>
          </p:cNvPr>
          <p:cNvSpPr txBox="1"/>
          <p:nvPr/>
        </p:nvSpPr>
        <p:spPr>
          <a:xfrm>
            <a:off x="9033014" y="4221514"/>
            <a:ext cx="1495552" cy="2802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99"/>
              <a:t>Soft Start Valve (Z1)</a:t>
            </a:r>
            <a:endParaRPr lang="en-GB" sz="1199" dirty="0"/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F9EB5F53-AAB0-4140-AB5B-AD7FE47B1670}"/>
              </a:ext>
            </a:extLst>
          </p:cNvPr>
          <p:cNvSpPr txBox="1"/>
          <p:nvPr/>
        </p:nvSpPr>
        <p:spPr>
          <a:xfrm>
            <a:off x="9035825" y="4446243"/>
            <a:ext cx="996330" cy="2802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99"/>
              <a:t>Pilot Air (Z0)</a:t>
            </a:r>
            <a:endParaRPr lang="en-GB" sz="1199" dirty="0"/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FCB14C21-6817-436F-AC11-48D9B03465DC}"/>
              </a:ext>
            </a:extLst>
          </p:cNvPr>
          <p:cNvSpPr txBox="1"/>
          <p:nvPr/>
        </p:nvSpPr>
        <p:spPr>
          <a:xfrm>
            <a:off x="9073682" y="5396728"/>
            <a:ext cx="1499651" cy="2802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99"/>
              <a:t>Vacuum Ejector (Z2)</a:t>
            </a:r>
            <a:endParaRPr lang="en-GB" sz="1199" dirty="0"/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B8B677B3-3932-4D83-9275-A449DBC54143}"/>
              </a:ext>
            </a:extLst>
          </p:cNvPr>
          <p:cNvSpPr txBox="1"/>
          <p:nvPr/>
        </p:nvSpPr>
        <p:spPr>
          <a:xfrm>
            <a:off x="9073681" y="5213409"/>
            <a:ext cx="996330" cy="2802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99"/>
              <a:t>Pilot Air (Z2)</a:t>
            </a:r>
            <a:endParaRPr lang="en-GB" sz="1199" dirty="0"/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C2FC7949-7420-436E-B762-AB8F3B5F3146}"/>
              </a:ext>
            </a:extLst>
          </p:cNvPr>
          <p:cNvSpPr txBox="1"/>
          <p:nvPr/>
        </p:nvSpPr>
        <p:spPr>
          <a:xfrm>
            <a:off x="9051932" y="4662446"/>
            <a:ext cx="1692896" cy="2802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99"/>
              <a:t>Address Extension (Z2)</a:t>
            </a:r>
            <a:endParaRPr lang="en-GB" sz="1199" dirty="0"/>
          </a:p>
        </p:txBody>
      </p:sp>
    </p:spTree>
    <p:extLst>
      <p:ext uri="{BB962C8B-B14F-4D97-AF65-F5344CB8AC3E}">
        <p14:creationId xmlns:p14="http://schemas.microsoft.com/office/powerpoint/2010/main" val="26655681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EATWORKPOWERPOINTMASTERTEMPLATECONFIGURATION" val="&lt;!--Created with officeatwork--&gt;&#10;&lt;MasterTemplateConfiguration&gt;&#10;  &lt;TableOfContentsCollection&gt;&#10;    &lt;TableOfContents&gt;&#10;      &lt;Id&gt;61a8f83e-402f-4603-a8f6-ece4b2aedc9b&lt;/Id&gt;&#10;      &lt;IdName&gt;Agenda&lt;/IdName&gt;&#10;      &lt;Label&gt;&amp;lt;translate&amp;gt;Ribbon.New.TableOfContent&amp;lt;/translate&amp;gt;&lt;/Label&gt;&#10;      &lt;ImageMso&gt;FileNew&lt;/ImageMso&gt;&#10;      &lt;Image&gt;&lt;/Image&gt;&#10;      &lt;ShowToc&gt;true&lt;/ShowToc&gt;&#10;      &lt;Layout&gt;Title Subtitle and Content&lt;/Layout&gt;&#10;      &lt;TableOfContentsTitle&gt;Agenda&lt;/TableOfContentsTitle&gt;&#10;      &lt;Insert&gt;Presentation Title&lt;/Insert&gt;&#10;      &lt;InsertRelativePosition&gt;After&lt;/InsertRelativePosition&gt;&#10;      &lt;Level1&gt;Chapter Title&lt;/Level1&gt;&#10;      &lt;Level2&gt;&lt;/Level2&gt;&#10;      &lt;Level3&gt;&lt;/Level3&gt;&#10;      &lt;Level4&gt;&lt;/Level4&gt;&#10;      &lt;Level5&gt;&lt;/Level5&gt;&#10;      &lt;ShowPositionIndicatorSlides&gt;true&lt;/ShowPositionIndicatorSlides&gt;&#10;      &lt;UseSeparatePositionIndicatorSlides&gt;false&lt;/UseSeparatePositionIndicatorSlides&gt;&#10;      &lt;PositionIndicatorSlidesLayout&gt;&lt;/PositionIndicatorSlidesLayout&gt;&#10;      &lt;PositionIndicatorSlidesTitle&gt;&lt;/PositionIndicatorSlidesTitle&gt;&#10;      &lt;PositionIndicatorSlidesInsertRelativePosition&gt;Before&lt;/PositionIndicatorSlidesInsertRelativePosition&gt;&#10;      &lt;PositionIndicatorSlidesLevel1&gt;Chapter Title&lt;/PositionIndicatorSlidesLevel1&gt;&#10;      &lt;PositionIndicatorSlidesLevel2&gt;&lt;/PositionIndicatorSlidesLevel2&gt;&#10;      &lt;PositionIndicatorSlidesLevel3&gt;&lt;/PositionIndicatorSlidesLevel3&gt;&#10;      &lt;PositionIndicatorSlidesLevel4&gt;&lt;/PositionIndicatorSlidesLevel4&gt;&#10;      &lt;IsSelected&gt;false&lt;/IsSelected&gt;&#10;      &lt;IsExpanded&gt;false&lt;/IsExpanded&gt;&#10;    &lt;/TableOfContents&gt;&#10;  &lt;/TableOfContentsCollection&gt;&#10;  &lt;ThemeDefinition&gt;&#10;    &lt;DefaultThemeDefinition&gt;%Themes%\Festo 16x9.optp&lt;/DefaultThemeDefinition&gt;&#10;    &lt;PresentationThemeDefinition&gt;%Themes%\Festo 16x9.optp&lt;/PresentationThemeDefinition&gt;&#10;    &lt;SlideThemeDefinition&gt;%Themes%\Festo 16x9.optp&lt;/SlideThemeDefinition&gt;&#10;    &lt;ObjectThemeDefinition&gt;%Themes%\Festo 16x9.optp&lt;/ObjectThemeDefinition&gt;&#10;  &lt;/ThemeDefinition&gt;&#10;  &lt;MasterProperties&gt;&#10;    &lt;MasterProperty Id=&quot;2004112217333376588294&quot;&gt;&#10;      &lt;Fields&gt;&#10;        &lt;Field Id=&quot;2014070911013459735899&quot; ShowField=&quot;false&quot; /&gt;&#10;        &lt;Field Id=&quot;2011973463486587459834&quot; ShowField=&quot;true&quot; /&gt;&#10;        &lt;Field Id=&quot;2011349845823498345623&quot; ShowField=&quot;true&quot; /&gt;&#10;        &lt;Field Id=&quot;2014070910523459735899&quot; ShowField=&quot;false&quot; /&gt;&#10;        &lt;Field Id=&quot;2010032915520270663768&quot; ShowField=&quot;true&quot; /&gt;&#10;        &lt;Field Id=&quot;2014070910553459735899&quot; ShowField=&quot;false&quot; /&gt;&#10;        &lt;Field Id=&quot;2014070910500270663768&quot; ShowField=&quot;true&quot; /&gt;&#10;        &lt;Field Id=&quot;2014070910573459735899&quot; ShowField=&quot;false&quot; /&gt;&#10;        &lt;Field Id=&quot;2014070910318498756646&quot; ShowField=&quot;true&quot; /&gt;&#10;        &lt;Field Id=&quot;2011982347978498756646&quot; ShowField=&quot;true&quot; /&gt;&#10;        &lt;Field Id=&quot;2014070912413459735899&quot; ShowField=&quot;false&quot; /&gt;&#10;        &lt;Field Id=&quot;2010030416385012448864&quot; ShowField=&quot;false&quot; /&gt;&#10;        &lt;Field Id=&quot;2011239034983459735876&quot; ShowField=&quot;false&quot; /&gt;&#10;        &lt;Field Id=&quot;2013040434983459735876&quot; ShowField=&quot;false&quot; /&gt;&#10;        &lt;Field Id=&quot;2004111209284731179378&quot; ShowField=&quot;false&quot; /&gt;&#10;        &lt;Field Id=&quot;2004112217261556206966&quot; ShowField=&quot;false&quot; /&gt;&#10;        &lt;Field Id=&quot;2005040809241304770672&quot; ShowField=&quot;false&quot; /&gt;&#10;        &lt;Field Id=&quot;2013040434983459735899&quot; ShowField=&quot;false&quot; /&gt;&#10;        &lt;Field Id=&quot;2006083110591114259288&quot; ShowField=&quot;false&quot; /&gt;&#10;      &lt;/Fields&gt;&#10;    &lt;/MasterProperty&gt;&#10;  &lt;/MasterProperties&gt;&#10;  &lt;ContentItems&gt;&#10;    &lt;ContentItem Language=&quot;2057&quot; IsDefault=&quot;false&quot;&gt;&#10;      &lt;File HasContent=&quot;false&quot; LinkToLanguage=&quot;&quot; /&gt;&#10;    &lt;/ContentItem&gt;&#10;    &lt;ContentItem Language=&quot;1031&quot; IsDefault=&quot;true&quot;&gt;&#10;      &lt;File HasContent=&quot;true&quot; LinkToLanguage=&quot;&quot; /&gt;&#10;    &lt;/ContentItem&gt;&#10;  &lt;/ContentItems&gt;&#10;&lt;/MasterTemplateConfiguration&gt;"/>
  <p:tag name="OFFICEATWORKPOWERPOINTMASTERTEMPLATEID" val="Festo 16x9"/>
  <p:tag name="OAWWIZARDSTEPS" val="0|1|4"/>
  <p:tag name="ZOAWLANGID" val="2057"/>
  <p:tag name="OAWDOCPROPSOURCE" val="&lt;DocProps&gt;&lt;DocProp UID=&quot;2002122011014149059130932&quot; EntryUID=&quot;2011120516130832736690&quot;&gt;&lt;Field Name=&quot;IDName&quot; Value=&quot;Festo AG &amp;amp; Co. KG, Esslingen&quot;/&gt;&lt;Field Name=&quot;Organisation&quot; Value=&quot;Festo AG &amp;amp; Co. KG&quot;/&gt;&lt;Field Name=&quot;Department&quot; Value=&quot;&quot;/&gt;&lt;Field Name=&quot;Address1&quot; Value=&quot;&quot;/&gt;&lt;Field Name=&quot;Address2&quot; Value=&quot;&quot;/&gt;&lt;Field Name=&quot;Address3&quot; Value=&quot;&quot;/&gt;&lt;Field Name=&quot;Address4&quot; Value=&quot;&quot;/&gt;&lt;Field Name=&quot;Address5&quot; Value=&quot;&quot;/&gt;&lt;Field Name=&quot;Address6&quot; Value=&quot;&quot;/&gt;&lt;Field Name=&quot;Telefon&quot; Value=&quot;+49 711 347&quot;/&gt;&lt;Field Name=&quot;Fax&quot; Value=&quot;+49 711 347&quot;/&gt;&lt;Field Name=&quot;Country&quot; Value=&quot;GERMANY&quot;/&gt;&lt;Field Name=&quot;Email&quot; Value=&quot;&quot;/&gt;&lt;Field Name=&quot;Internet&quot; Value=&quot;www.festo.com&quot;/&gt;&lt;Field Name=&quot;City&quot; Value=&quot;&quot;/&gt;&lt;Field Name=&quot;Footer1&quot; Value=&quot;&quot;/&gt;&lt;Field Name=&quot;Footer2&quot; Value=&quot;&quot;/&gt;&lt;Field Name=&quot;Footer3&quot; Value=&quot;&quot;/&gt;&lt;Field Name=&quot;Footer4&quot; Value=&quot;&quot;/&gt;&lt;Field Name=&quot;Footer5&quot; Value=&quot;&quot;/&gt;&lt;Field Name=&quot;WdA4LogoColorPortrait&quot; Value=&quot;%Logos%\Wd_A4_Portrait_Festo_Color.2100.750.jpg&quot;/&gt;&lt;Field Name=&quot;WdA4LogoBlackWhitePortrait&quot; Value=&quot;%Logos%\Wd_A4_Portrait_Festo_BW.2100.750.jpg&quot;/&gt;&lt;Field Name=&quot;WdA4LogoColorQuer&quot; Value=&quot;%Logos%\Wd_A4_Portrait_Festo_Color.2100.750.jpg&quot;/&gt;&lt;Field Name=&quot;WdA4LogoBlackWhiteQuer&quot; Value=&quot;%Logos%\Wd_A4_Portrait_Festo_BW.2100.750.jpg&quot;/&gt;&lt;Field Name=&quot;WdLetterLogoColorPortrait&quot; Value=&quot;%Logos%\Wd_A4_Portrait_Festo_LowRes_Color.2100.750.jpg&quot;/&gt;&lt;Field Name=&quot;WdLetterLogoBlackWhitePortrait&quot; Value=&quot;%Logos%\Wd_A4_Portrait_Festo_LowRes_BW.2100.750.jpg&quot;/&gt;&lt;Field Name=&quot;WdLetterLogoColorQuer&quot; Value=&quot;%Logos%\Wd_A4_Portrait_Festo_Color.2100.750.jpg&quot;/&gt;&lt;Field Name=&quot;WdLetterLogoBlackWhiteQuer&quot; Value=&quot;%Logos%\Wd_A4_Portrait_Festo_BW.2100.750.jpg&quot;/&gt;&lt;Field Name=&quot;OlLogoSignature&quot; Value=&quot;%Logos%\Ol_Logo_ExampleCorporaton.jpg&quot;/&gt;&lt;Field Name=&quot;PpThemesDefault&quot; Value=&quot;%Themes%\Accounting.thmx&quot;/&gt;&lt;Field Name=&quot;PpThemesPresentation&quot; Value=&quot;%Themes%\Sales.thmx|%Themes%\Sales_2.thmx|%Themes%\Sales_3.thmx;%Themes%\Accounting.thmx;%Themes%\Finance.thmx;%Themes%\HR.thmx;%Themes%\IT.thmx;%Themes%\Legal.thmx;%Themes%\Marketing.thmx;%Themes%\Production.thmx;%Themes%\RD.thmx;%Themes%\Legal.thmx&quot;/&gt;&lt;Field Name=&quot;PpThemesSlide&quot; Value=&quot;%Themes%\Sales.thmx|%Themes%\Sales_2.thmx|%Themes%\Sales_3.thmx;%Themes%\Accounting.thmx;%Themes%\Finance.thmx;%Themes%\HR.thmx;%Themes%\IT.thmx;%Themes%\Legal.thmx;%Themes%\Marketing.thmx;%Themes%\Production.thmx;%Themes%\RD.thmx;%Themes%\Legal.thmx&quot;/&gt;&lt;Field Name=&quot;PpThemesObject&quot; Value=&quot;%Themes%\Sales.thmx|%Themes%\Sales_2.thmx|%Themes%\Sales_3.thmx;%Themes%\Accounting.thmx;%Themes%\Finance.thmx;%Themes%\HR.thmx;%Themes%\IT.thmx;%Themes%\Legal.thmx;%Themes%\Marketing.thmx;%Themes%\Production.thmx;%Themes%\RD.thmx;%Themes%\Legal.thmx&quot;/&gt;&lt;Field Name=&quot;PpLogoTitleSlides169&quot; Value=&quot;%Logos%\PP_TitleSlide169_ExampleCorporation.png&quot;/&gt;&lt;Field Name=&quot;PpLogoContentSlides169&quot; Value=&quot;%Logos%\PP_ContentSlide169_ExampleCorporation.png&quot;/&gt;&lt;Field Name=&quot;Rechtsform1&quot; Value=&quot;Legal form:&quot;/&gt;&lt;Field Name=&quot;Rechtsform2&quot; Value=&quot;Limited partnership&quot;/&gt;&lt;Field Name=&quot;Rechtsform3&quot; Value=&quot;Registerred office: Esslingen a. N.&quot;/&gt;&lt;Field Name=&quot;Rechtsform4&quot; Value=&quot;Register court Stuttgart&quot;/&gt;&lt;Field Name=&quot;Rechtsform5&quot; Value=&quot;COR 211583&quot;/&gt;&lt;Field Name=&quot;Rechtsform6&quot; Value=&quot;Value added tax id. number:&quot;/&gt;&lt;Field Name=&quot;Rechtsform7&quot; Value=&quot;DE 145 339 206&quot;/&gt;&lt;Field Name=&quot;Rechtsform8&quot; Value=&quot;.&quot;/&gt;&lt;Field Name=&quot;Rechtsform9&quot; Value=&quot;&quot;/&gt;&lt;Field Name=&quot;Rechtsform10&quot; Value=&quot;General partner:&quot;/&gt;&lt;Field Name=&quot;Rechtsform11&quot; Value=&quot;Festo Management&quot;/&gt;&lt;Field Name=&quot;Rechtsform12&quot; Value=&quot;Aktiengesellschaft&quot;/&gt;&lt;Field Name=&quot;Rechtsform13&quot; Value=&quot;Registered office: Vienna/Austria&quot;/&gt;&lt;Field Name=&quot;Rechtsform14&quot; Value=&quot;Commercial registered court:&quot;/&gt;&lt;Field Name=&quot;Rechtsform15&quot; Value=&quot;Commercial court Vienna&quot;/&gt;&lt;Field Name=&quot;Rechtsform16&quot; Value=&quot;COR FN 303027 d&quot;/&gt;&lt;Field Name=&quot;Rechtsform17&quot; Value=&quot;Board of Director:&quot;/&gt;&lt;Field Name=&quot;Rechtsform18&quot; Value=&quot;Dipl.-Kfm. Alfred Goll&quot;/&gt;&lt;Field Name=&quot;Rechtsform19&quot; Value=&quot;Dr. Claus Jessen&quot;/&gt;&lt;Field Name=&quot;Rechtsform20&quot; Value=&quot;Dr. Ansgar Kriwet&quot;/&gt;&lt;Field Name=&quot;Rechtsform21&quot; Value=&quot;Dipl.-Kfm. Michael Mölleken&quot;/&gt;&lt;Field Name=&quot;Rechtsform22&quot; Value=&quot;Dr. Eberhard Veit (Chairman)&quot;/&gt;&lt;Field Name=&quot;Rechtsform23&quot; Value=&quot;Chairman of the Supervisory Board:&quot;/&gt;&lt;Field Name=&quot;Rechtsform24&quot; Value=&quot;Prof. Dr.-Ing. Dr.-Ing. E.h. Klaus Wucherer&quot;/&gt;&lt;Field Name=&quot;Rechtsform25&quot; Value=&quot;&quot;/&gt;&lt;Field Name=&quot;Rechtsform26&quot; Value=&quot;Bank details:&quot;/&gt;&lt;Field Name=&quot;Rechtsform27&quot; Value=&quot;Deutsche Bank AG, Esslingen&quot;/&gt;&lt;Field Name=&quot;Rechtsform28&quot; Value=&quot;(Bank code 611 700 76) 0 105 544&quot;/&gt;&lt;Field Name=&quot;Rechtsform29&quot; Value=&quot;SWIFT/BIC: DEUTDESS611&quot;/&gt;&lt;Field Name=&quot;Rechtsform30&quot; Value=&quot;IBAN: DE58 6117 0076 0010 5544 00&quot;/&gt;&lt;Field Name=&quot;BUKRS&quot; Value=&quot;0001&quot;/&gt;&lt;Field Name=&quot;Data_UID&quot; Value=&quot;2011120516130832736690&quot;/&gt;&lt;Field Name=&quot;Field_Name&quot; Value=&quot;Rechtsform17&quot;/&gt;&lt;Field Name=&quot;Field_UID&quot; Value=&quot;2011120515433562213375&quot;/&gt;&lt;Field Name=&quot;ML_LCID&quot; Value=&quot;2057&quot;/&gt;&lt;Field Name=&quot;ML_Value&quot; Value=&quot;Board of Director:&quot;/&gt;&lt;/DocProp&gt;&lt;DocProp UID=&quot;2006040509495284662868&quot; EntryUID=&quot;2003121817293296325874&quot;&gt;&lt;Field Name=&quot;IDName&quot; Value=&quot;(None)&quot;/&gt;&lt;/DocProp&gt;&lt;DocProp UID=&quot;200212191811121321310321301031x&quot; EntryUID=&quot;2003121817293296325874&quot;&gt;&lt;Field Name=&quot;IDName&quot; Value=&quot;(None)&quot;/&gt;&lt;/DocProp&gt;&lt;DocProp UID=&quot;2002122010583847234010578&quot; EntryUID=&quot;2003121817293296325874&quot;&gt;&lt;Field Name=&quot;IDName&quot; Value=&quot;(None)&quot;/&gt;&lt;/DocProp&gt;&lt;DocProp UID=&quot;2003061115381095709037&quot; EntryUID=&quot;2003121817293296325874&quot;&gt;&lt;Field Name=&quot;IDName&quot; Value=&quot;(None)&quot;/&gt;&lt;/DocProp&gt;&lt;DocProp UID=&quot;2004112217333376588294&quot; EntryUID=&quot;2004123010144120300001&quot;&gt;&lt;Field UID=&quot;2011973463486587459834&quot; Name=&quot;PresentationTitle&quot; Value=&quot;&quot;/&gt;&lt;Field UID=&quot;2011349845823498345623&quot; Name=&quot;PresentationSubTitle&quot; Value=&quot;&quot;/&gt;&lt;Field UID=&quot;2010032915520270663768&quot; Name=&quot;DocumentCreatedDate&quot; Value=&quot;&quot;/&gt;&lt;Field UID=&quot;2014070910500270663768&quot; Name=&quot;DocumentModifiedDate&quot; Value=&quot;&quot;/&gt;&lt;Field UID=&quot;2014070910318498756646&quot; Name=&quot;Status&quot; Value=&quot;&quot;/&gt;&lt;Field UID=&quot;2011982347978498756646&quot; Name=&quot;Classification&quot; Value=&quot;&quot;/&gt;&lt;/DocProp&gt;&lt;/DocProps&gt;&#10;"/>
  <p:tag name="OFFICEATWORKPRESENTATIONPROJECTID" val="festoco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Untertitel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‹#›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itle sty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ext styles&#10;Second level&#10;Third level&#10;Fourth level&#10;Fifth level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ext styles&#10;Second level&#10;Third level&#10;Fourth level&#10;Fifth level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‹#›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itle sty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‹#›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ext styles&#10;Second level&#10;Third level&#10;Fourth level&#10;Fifth level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ext styles&#10;Second level&#10;Third level&#10;Fourth level&#10;Fifth leve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[[IF(MasterProperty(&quot;CustomField&quot;, &quot;DocumentCreatedDate&quot;)=&quot;&quot;,&quot;&quot;,Translate(&quot;Doc.PPT.Created&quot;) &amp; &quot; &quot; &amp; MasterProperty(&quot;CustomField&quot;, &quot;DocumentCreatedDate&quot;))]]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ext styles&#10;Second level&#10;Third level&#10;Fourth level&#10;Fifth level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itle styl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‹#›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itle sty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ext styles&#10;Second level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ext styles&#10;Second level&#10;Third level&#10;Fourth level&#10;Fifth level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Untertitel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Untertitel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ext styles&#10;Second level&#10;Third level&#10;Fourth level&#10;Fifth level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‹#›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[[IF(MasterProperty(&quot;CustomField&quot;, &quot;DocumentModifiedDate&quot;)=&quot;&quot;,&quot;&quot;,Translate(&quot;Doc.PPT.Modified&quot;) &amp; &quot; &quot; &amp; MasterProperty(&quot;CustomField&quot;, &quot;DocumentModifiedDate&quot;))]]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itle sty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‹#›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itle sty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‹#›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itle sty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‹#›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itle sty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icon to add pictur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ext styles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‹#›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[[IF(MasterProperty(&quot;CustomField&quot;, &quot;Status&quot;)=&quot;&quot;,&quot;&quot;,Translate(&quot;Doc.PPT.Status&quot;) &amp; &quot; &quot; &amp; MasterProperty(&quot;CustomField&quot;, &quot;Status&quot;))]]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ext styles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‹#›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23TjkxQl.lxVNY.9yQ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7d5husRlaR53LY4zFAP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HryQXYDYpWUgWTYtseF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Untertitel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‹#›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[[MasterProperty(&quot;Contactperson&quot;,&quot;Department&quot;) &amp; &quot;\&quot; &amp; MasterProperty(&quot;Contactperson&quot;,&quot;Displayname&quot;)]]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Untertitel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‹#›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w09DLSSyW2_1eABdnNJ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Setting your sights high?&#10;Want to achieve more?&#10;We show you new ways forward.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9dsojfiRP5zhgvruUJau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9PXFCIRmuCweUkbjemW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[[MasterProperty(&quot;CustomField&quot;,&quot;PresentationTitle&quot;)]]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[[MasterProperty(&quot;CustomField&quot;,&quot;PresentationTitle&quot;)]]&#10;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AXQACwRR6dX1jqqgIUD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[[MasterProperty(&quot;CustomField&quot;,&quot;PresentationTitle&quot;)]]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j9e6ahRjCL6oTFe1f1M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Zone 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Zone 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Zone 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Zone 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Zone 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Untertitel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[[MasterProperty(&quot;CustomField&quot;,&quot;PresentationTitle&quot;)]]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Zone 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Zone 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Zone 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[[MasterProperty(&quot;CustomField&quot;,&quot;PresentationTitle&quot;)]]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[[MasterProperty(&quot;CustomField&quot;,&quot;PresentationTitle&quot;)]]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[[MasterProperty(&quot;CustomField&quot;,&quot;PresentationTitle&quot;)]]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‹#›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ext styles&#10;Second level&#10;Third level&#10;Fourth level&#10;Fifth level"/>
</p:tagLst>
</file>

<file path=ppt/theme/theme1.xml><?xml version="1.0" encoding="utf-8"?>
<a:theme xmlns:a="http://schemas.openxmlformats.org/drawingml/2006/main" name="Festo 16x9">
  <a:themeElements>
    <a:clrScheme name="Festo Colors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EBF6"/>
      </a:accent1>
      <a:accent2>
        <a:srgbClr val="CACCCC"/>
      </a:accent2>
      <a:accent3>
        <a:srgbClr val="969A9A"/>
      </a:accent3>
      <a:accent4>
        <a:srgbClr val="626666"/>
      </a:accent4>
      <a:accent5>
        <a:srgbClr val="000000"/>
      </a:accent5>
      <a:accent6>
        <a:srgbClr val="0091DC"/>
      </a:accent6>
      <a:hlink>
        <a:srgbClr val="000000"/>
      </a:hlink>
      <a:folHlink>
        <a:srgbClr val="969A9A"/>
      </a:folHlink>
    </a:clrScheme>
    <a:fontScheme name="MetaPlusLF">
      <a:majorFont>
        <a:latin typeface="MetaPlusLF"/>
        <a:ea typeface=""/>
        <a:cs typeface=""/>
      </a:majorFont>
      <a:minorFont>
        <a:latin typeface="MetaPlusLF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sz="16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600" dirty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48AB805A-B7D9-4918-9C4D-3D2E1FD8C3C0}" vid="{317E3317-7B68-429C-A78C-BDFA171B771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3AD5A4149A92E4091AB8BB67DA774A0" ma:contentTypeVersion="10" ma:contentTypeDescription="Ein neues Dokument erstellen." ma:contentTypeScope="" ma:versionID="c7994c4a4e9f53989863da6966181a1c">
  <xsd:schema xmlns:xsd="http://www.w3.org/2001/XMLSchema" xmlns:xs="http://www.w3.org/2001/XMLSchema" xmlns:p="http://schemas.microsoft.com/office/2006/metadata/properties" xmlns:ns3="0f42870e-68d6-4b6d-8b19-0b39acde5463" targetNamespace="http://schemas.microsoft.com/office/2006/metadata/properties" ma:root="true" ma:fieldsID="fb062b62afb76aae5d4a4a74d08aae60" ns3:_="">
    <xsd:import namespace="0f42870e-68d6-4b6d-8b19-0b39acde546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Loca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42870e-68d6-4b6d-8b19-0b39acde546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C7CF8DE-BF1C-4C96-A7EE-6885CD20D7A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f42870e-68d6-4b6d-8b19-0b39acde546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BDC7B47-E7CA-46AA-82B0-92BBB43CD1B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B595186-91AB-41E1-8DED-92A0D80F4F7D}">
  <ds:schemaRefs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0f42870e-68d6-4b6d-8b19-0b39acde5463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64</Words>
  <Application>Microsoft Office PowerPoint</Application>
  <PresentationFormat>Benutzerdefiniert</PresentationFormat>
  <Paragraphs>59</Paragraphs>
  <Slides>8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3" baseType="lpstr">
      <vt:lpstr>Arial</vt:lpstr>
      <vt:lpstr>Calibri</vt:lpstr>
      <vt:lpstr>MetaPlusLF</vt:lpstr>
      <vt:lpstr>Festo 16x9</vt:lpstr>
      <vt:lpstr>think-cell Folie</vt:lpstr>
      <vt:lpstr>CPX/VTSA-F-CB</vt:lpstr>
      <vt:lpstr>CPX/VTSA-F-CB  –  Brief description</vt:lpstr>
      <vt:lpstr>CPX/VTSA-F-CB: New VTSA pneumatic interfaces with FB36 (Ethernet-IP)</vt:lpstr>
      <vt:lpstr>CPX/VTSA-F-CB with serial communication, 3xM12 for zones and vacuum integration</vt:lpstr>
      <vt:lpstr>CPX/VTSA-F-CB with serial communication and safe zones</vt:lpstr>
      <vt:lpstr>PowerPoint-Präsentation</vt:lpstr>
      <vt:lpstr>PowerPoint-Präsentation</vt:lpstr>
      <vt:lpstr>PowerPoint-Präsentation</vt:lpstr>
    </vt:vector>
  </TitlesOfParts>
  <Company>Festo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TSA-F-CB</dc:title>
  <dc:creator>Timo Dreesmann</dc:creator>
  <cp:lastModifiedBy>Berger, Alexander</cp:lastModifiedBy>
  <cp:revision>404</cp:revision>
  <cp:lastPrinted>2019-04-24T06:54:10Z</cp:lastPrinted>
  <dcterms:created xsi:type="dcterms:W3CDTF">2017-05-11T15:45:27Z</dcterms:created>
  <dcterms:modified xsi:type="dcterms:W3CDTF">2020-10-06T15:09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uthorSign">
    <vt:lpwstr>jki</vt:lpwstr>
  </property>
  <property fmtid="{D5CDD505-2E9C-101B-9397-08002B2CF9AE}" pid="3" name="AuthorName">
    <vt:lpwstr>Jochen Krinn</vt:lpwstr>
  </property>
  <property fmtid="{D5CDD505-2E9C-101B-9397-08002B2CF9AE}" pid="4" name="AuthorDept">
    <vt:lpwstr>BP-CM</vt:lpwstr>
  </property>
  <property fmtid="{D5CDD505-2E9C-101B-9397-08002B2CF9AE}" pid="5" name="Title">
    <vt:lpwstr>CPX/VTSA outlook for 2018 ongoing</vt:lpwstr>
  </property>
  <property fmtid="{D5CDD505-2E9C-101B-9397-08002B2CF9AE}" pid="6" name="FooterLanguage">
    <vt:lpwstr>en</vt:lpwstr>
  </property>
  <property fmtid="{D5CDD505-2E9C-101B-9397-08002B2CF9AE}" pid="7" name="Created">
    <vt:lpwstr>10/6/2020 10:00:00 AM</vt:lpwstr>
  </property>
  <property fmtid="{D5CDD505-2E9C-101B-9397-08002B2CF9AE}" pid="8" name="Modified">
    <vt:lpwstr/>
  </property>
  <property fmtid="{D5CDD505-2E9C-101B-9397-08002B2CF9AE}" pid="9" name="ModifiedBySign">
    <vt:lpwstr/>
  </property>
  <property fmtid="{D5CDD505-2E9C-101B-9397-08002B2CF9AE}" pid="10" name="Status">
    <vt:lpwstr>0</vt:lpwstr>
  </property>
  <property fmtid="{D5CDD505-2E9C-101B-9397-08002B2CF9AE}" pid="11" name="Security">
    <vt:lpwstr>0</vt:lpwstr>
  </property>
  <property fmtid="{D5CDD505-2E9C-101B-9397-08002B2CF9AE}" pid="12" name="SlideNumbers">
    <vt:lpwstr>True</vt:lpwstr>
  </property>
  <property fmtid="{D5CDD505-2E9C-101B-9397-08002B2CF9AE}" pid="13" name="ContentTypeId">
    <vt:lpwstr>0x01010013AD5A4149A92E4091AB8BB67DA774A0</vt:lpwstr>
  </property>
  <property fmtid="{D5CDD505-2E9C-101B-9397-08002B2CF9AE}" pid="14" name="Author">
    <vt:lpwstr>Festo_SK-AE</vt:lpwstr>
  </property>
  <property fmtid="{D5CDD505-2E9C-101B-9397-08002B2CF9AE}" pid="15" name="FooterTitle">
    <vt:lpwstr>VTSA-F-CB configuration rules_EtherNET IP</vt:lpwstr>
  </property>
  <property fmtid="{D5CDD505-2E9C-101B-9397-08002B2CF9AE}" pid="16" name="MSIP_Label_9c86c25f-31f1-46f7-b4f9-3c53b1ed0b07_Enabled">
    <vt:lpwstr>True</vt:lpwstr>
  </property>
  <property fmtid="{D5CDD505-2E9C-101B-9397-08002B2CF9AE}" pid="17" name="MSIP_Label_9c86c25f-31f1-46f7-b4f9-3c53b1ed0b07_SiteId">
    <vt:lpwstr>a1ae89fb-21b9-40bf-9d82-a10ae85a2407</vt:lpwstr>
  </property>
  <property fmtid="{D5CDD505-2E9C-101B-9397-08002B2CF9AE}" pid="18" name="MSIP_Label_9c86c25f-31f1-46f7-b4f9-3c53b1ed0b07_Owner">
    <vt:lpwstr>tmdr@festo.net</vt:lpwstr>
  </property>
  <property fmtid="{D5CDD505-2E9C-101B-9397-08002B2CF9AE}" pid="19" name="MSIP_Label_9c86c25f-31f1-46f7-b4f9-3c53b1ed0b07_SetDate">
    <vt:lpwstr>2020-01-30T10:03:26.5819186Z</vt:lpwstr>
  </property>
  <property fmtid="{D5CDD505-2E9C-101B-9397-08002B2CF9AE}" pid="20" name="MSIP_Label_9c86c25f-31f1-46f7-b4f9-3c53b1ed0b07_Name">
    <vt:lpwstr>Internal</vt:lpwstr>
  </property>
  <property fmtid="{D5CDD505-2E9C-101B-9397-08002B2CF9AE}" pid="21" name="MSIP_Label_9c86c25f-31f1-46f7-b4f9-3c53b1ed0b07_Application">
    <vt:lpwstr>Microsoft Azure Information Protection</vt:lpwstr>
  </property>
  <property fmtid="{D5CDD505-2E9C-101B-9397-08002B2CF9AE}" pid="22" name="MSIP_Label_9c86c25f-31f1-46f7-b4f9-3c53b1ed0b07_ActionId">
    <vt:lpwstr>cca41279-7fcf-4207-9593-b3ca0b3c612c</vt:lpwstr>
  </property>
  <property fmtid="{D5CDD505-2E9C-101B-9397-08002B2CF9AE}" pid="23" name="MSIP_Label_9c86c25f-31f1-46f7-b4f9-3c53b1ed0b07_Extended_MSFT_Method">
    <vt:lpwstr>Automatic</vt:lpwstr>
  </property>
  <property fmtid="{D5CDD505-2E9C-101B-9397-08002B2CF9AE}" pid="24" name="Sensitivity">
    <vt:lpwstr>Internal</vt:lpwstr>
  </property>
</Properties>
</file>